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5.xml" ContentType="application/vnd.openxmlformats-officedocument.presentationml.notesSlide+xml"/>
  <Override PartName="/ppt/tags/tag36.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7.xml" ContentType="application/vnd.openxmlformats-officedocument.presentationml.tags+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tags/tag3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3"/>
  </p:notesMasterIdLst>
  <p:sldIdLst>
    <p:sldId id="300" r:id="rId2"/>
    <p:sldId id="268" r:id="rId3"/>
    <p:sldId id="257" r:id="rId4"/>
    <p:sldId id="320" r:id="rId5"/>
    <p:sldId id="340" r:id="rId6"/>
    <p:sldId id="342" r:id="rId7"/>
    <p:sldId id="368" r:id="rId8"/>
    <p:sldId id="369" r:id="rId9"/>
    <p:sldId id="288" r:id="rId10"/>
    <p:sldId id="282" r:id="rId11"/>
    <p:sldId id="347" r:id="rId12"/>
    <p:sldId id="367" r:id="rId13"/>
    <p:sldId id="383" r:id="rId14"/>
    <p:sldId id="290" r:id="rId15"/>
    <p:sldId id="374" r:id="rId16"/>
    <p:sldId id="373" r:id="rId17"/>
    <p:sldId id="307" r:id="rId18"/>
    <p:sldId id="375" r:id="rId19"/>
    <p:sldId id="377" r:id="rId20"/>
    <p:sldId id="378" r:id="rId21"/>
    <p:sldId id="379" r:id="rId22"/>
  </p:sldIdLst>
  <p:sldSz cx="12192000" cy="6858000"/>
  <p:notesSz cx="6858000" cy="9144000"/>
  <p:custDataLst>
    <p:tags r:id="rId24"/>
  </p:custDataLst>
  <p:defaultTextStyle>
    <a:defPPr>
      <a:defRPr lang="zh-CN"/>
    </a:defPPr>
    <a:lvl1pPr algn="l" rtl="0" fontAlgn="base">
      <a:spcBef>
        <a:spcPct val="0"/>
      </a:spcBef>
      <a:spcAft>
        <a:spcPct val="0"/>
      </a:spcAft>
      <a:defRPr kern="1200">
        <a:solidFill>
          <a:schemeClr val="tx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微软雅黑" panose="020B0503020204020204" pitchFamily="34" charset="-122"/>
        <a:ea typeface="微软雅黑" panose="020B0503020204020204" pitchFamily="34" charset="-122"/>
        <a:cs typeface="+mn-cs"/>
      </a:defRPr>
    </a:lvl2pPr>
    <a:lvl3pPr marL="914400" algn="l" rtl="0" fontAlgn="base">
      <a:spcBef>
        <a:spcPct val="0"/>
      </a:spcBef>
      <a:spcAft>
        <a:spcPct val="0"/>
      </a:spcAft>
      <a:defRPr kern="1200">
        <a:solidFill>
          <a:schemeClr val="tx1"/>
        </a:solidFill>
        <a:latin typeface="微软雅黑" panose="020B0503020204020204" pitchFamily="34" charset="-122"/>
        <a:ea typeface="微软雅黑" panose="020B0503020204020204" pitchFamily="34" charset="-122"/>
        <a:cs typeface="+mn-cs"/>
      </a:defRPr>
    </a:lvl3pPr>
    <a:lvl4pPr marL="1371600" algn="l" rtl="0" fontAlgn="base">
      <a:spcBef>
        <a:spcPct val="0"/>
      </a:spcBef>
      <a:spcAft>
        <a:spcPct val="0"/>
      </a:spcAft>
      <a:defRPr kern="1200">
        <a:solidFill>
          <a:schemeClr val="tx1"/>
        </a:solidFill>
        <a:latin typeface="微软雅黑" panose="020B0503020204020204" pitchFamily="34" charset="-122"/>
        <a:ea typeface="微软雅黑" panose="020B0503020204020204" pitchFamily="34" charset="-122"/>
        <a:cs typeface="+mn-cs"/>
      </a:defRPr>
    </a:lvl4pPr>
    <a:lvl5pPr marL="1828800" algn="l" rtl="0" fontAlgn="base">
      <a:spcBef>
        <a:spcPct val="0"/>
      </a:spcBef>
      <a:spcAft>
        <a:spcPct val="0"/>
      </a:spcAft>
      <a:defRPr kern="1200">
        <a:solidFill>
          <a:schemeClr val="tx1"/>
        </a:solidFill>
        <a:latin typeface="微软雅黑" panose="020B0503020204020204" pitchFamily="34" charset="-122"/>
        <a:ea typeface="微软雅黑" panose="020B0503020204020204" pitchFamily="34" charset="-122"/>
        <a:cs typeface="+mn-cs"/>
      </a:defRPr>
    </a:lvl5pPr>
    <a:lvl6pPr marL="2286000" algn="l" defTabSz="914400" rtl="0" eaLnBrk="1" latinLnBrk="0" hangingPunct="1">
      <a:defRPr kern="1200">
        <a:solidFill>
          <a:schemeClr val="tx1"/>
        </a:solidFill>
        <a:latin typeface="微软雅黑" panose="020B0503020204020204" pitchFamily="34" charset="-122"/>
        <a:ea typeface="微软雅黑" panose="020B0503020204020204" pitchFamily="34" charset="-122"/>
        <a:cs typeface="+mn-cs"/>
      </a:defRPr>
    </a:lvl6pPr>
    <a:lvl7pPr marL="2743200" algn="l" defTabSz="914400" rtl="0" eaLnBrk="1" latinLnBrk="0" hangingPunct="1">
      <a:defRPr kern="1200">
        <a:solidFill>
          <a:schemeClr val="tx1"/>
        </a:solidFill>
        <a:latin typeface="微软雅黑" panose="020B0503020204020204" pitchFamily="34" charset="-122"/>
        <a:ea typeface="微软雅黑" panose="020B0503020204020204" pitchFamily="34" charset="-122"/>
        <a:cs typeface="+mn-cs"/>
      </a:defRPr>
    </a:lvl7pPr>
    <a:lvl8pPr marL="3200400" algn="l" defTabSz="914400" rtl="0" eaLnBrk="1" latinLnBrk="0" hangingPunct="1">
      <a:defRPr kern="1200">
        <a:solidFill>
          <a:schemeClr val="tx1"/>
        </a:solidFill>
        <a:latin typeface="微软雅黑" panose="020B0503020204020204" pitchFamily="34" charset="-122"/>
        <a:ea typeface="微软雅黑" panose="020B0503020204020204" pitchFamily="34" charset="-122"/>
        <a:cs typeface="+mn-cs"/>
      </a:defRPr>
    </a:lvl8pPr>
    <a:lvl9pPr marL="3657600" algn="l" defTabSz="914400" rtl="0" eaLnBrk="1" latinLnBrk="0" hangingPunct="1">
      <a:defRPr kern="1200">
        <a:solidFill>
          <a:schemeClr val="tx1"/>
        </a:solidFill>
        <a:latin typeface="微软雅黑" panose="020B0503020204020204" pitchFamily="34" charset="-122"/>
        <a:ea typeface="微软雅黑" panose="020B0503020204020204" pitchFamily="34" charset="-122"/>
        <a:cs typeface="+mn-cs"/>
      </a:defRPr>
    </a:lvl9pPr>
  </p:defaultTextStyle>
  <p:extLst>
    <p:ext uri="{EFAFB233-063F-42B5-8137-9DF3F51BA10A}">
      <p15:sldGuideLst xmlns:p15="http://schemas.microsoft.com/office/powerpoint/2012/main">
        <p15:guide id="1" orient="horz" pos="2282">
          <p15:clr>
            <a:srgbClr val="A4A3A4"/>
          </p15:clr>
        </p15:guide>
        <p15:guide id="2" orient="horz" pos="3248">
          <p15:clr>
            <a:srgbClr val="A4A3A4"/>
          </p15:clr>
        </p15:guide>
        <p15:guide id="3" orient="horz" pos="1136">
          <p15:clr>
            <a:srgbClr val="A4A3A4"/>
          </p15:clr>
        </p15:guide>
        <p15:guide id="4" orient="horz" pos="1624">
          <p15:clr>
            <a:srgbClr val="A4A3A4"/>
          </p15:clr>
        </p15:guide>
        <p15:guide id="5" orient="horz" pos="2138">
          <p15:clr>
            <a:srgbClr val="A4A3A4"/>
          </p15:clr>
        </p15:guide>
        <p15:guide id="6" orient="horz" pos="3074">
          <p15:clr>
            <a:srgbClr val="A4A3A4"/>
          </p15:clr>
        </p15:guide>
        <p15:guide id="7" orient="horz" pos="1515">
          <p15:clr>
            <a:srgbClr val="A4A3A4"/>
          </p15:clr>
        </p15:guide>
        <p15:guide id="8" pos="3835">
          <p15:clr>
            <a:srgbClr val="A4A3A4"/>
          </p15:clr>
        </p15:guide>
        <p15:guide id="9" pos="3260">
          <p15:clr>
            <a:srgbClr val="A4A3A4"/>
          </p15:clr>
        </p15:guide>
        <p15:guide id="10" pos="5521">
          <p15:clr>
            <a:srgbClr val="A4A3A4"/>
          </p15:clr>
        </p15:guide>
        <p15:guide id="11" pos="873">
          <p15:clr>
            <a:srgbClr val="A4A3A4"/>
          </p15:clr>
        </p15:guide>
        <p15:guide id="12" pos="113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FEA"/>
    <a:srgbClr val="5A8B25"/>
    <a:srgbClr val="5C8823"/>
    <a:srgbClr val="406019"/>
    <a:srgbClr val="70AE2E"/>
    <a:srgbClr val="2A2568"/>
    <a:srgbClr val="4C4948"/>
    <a:srgbClr val="197519"/>
    <a:srgbClr val="5AAB1E"/>
    <a:srgbClr val="4F86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79" autoAdjust="0"/>
    <p:restoredTop sz="94140" autoAdjust="0"/>
  </p:normalViewPr>
  <p:slideViewPr>
    <p:cSldViewPr snapToGrid="0">
      <p:cViewPr varScale="1">
        <p:scale>
          <a:sx n="69" d="100"/>
          <a:sy n="69" d="100"/>
        </p:scale>
        <p:origin x="340" y="56"/>
      </p:cViewPr>
      <p:guideLst>
        <p:guide orient="horz" pos="2282"/>
        <p:guide orient="horz" pos="3248"/>
        <p:guide orient="horz" pos="1136"/>
        <p:guide orient="horz" pos="1624"/>
        <p:guide orient="horz" pos="2138"/>
        <p:guide orient="horz" pos="3074"/>
        <p:guide orient="horz" pos="1515"/>
        <p:guide pos="3835"/>
        <p:guide pos="3260"/>
        <p:guide pos="5521"/>
        <p:guide pos="873"/>
        <p:guide pos="1132"/>
      </p:guideLst>
    </p:cSldViewPr>
  </p:slideViewPr>
  <p:notesTextViewPr>
    <p:cViewPr>
      <p:scale>
        <a:sx n="1" d="1"/>
        <a:sy n="1" d="1"/>
      </p:scale>
      <p:origin x="0" y="0"/>
    </p:cViewPr>
  </p:notesTextViewPr>
  <p:gridSpacing cx="72006" cy="72006"/>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D488F3EE-0F56-4DC2-A48E-1DB309C2EA6D}" type="doc">
      <dgm:prSet loTypeId="urn:microsoft.com/office/officeart/2005/8/layout/process1" loCatId="process" qsTypeId="urn:microsoft.com/office/officeart/2005/8/quickstyle/simple1#4" qsCatId="simple" csTypeId="urn:microsoft.com/office/officeart/2005/8/colors/colorful1#2" csCatId="colorful" phldr="1"/>
      <dgm:spPr/>
      <dgm:t>
        <a:bodyPr/>
        <a:lstStyle/>
        <a:p>
          <a:endParaRPr lang="zh-CN" altLang="en-US"/>
        </a:p>
      </dgm:t>
    </dgm:pt>
    <dgm:pt modelId="{7E461533-A8DB-4F15-B854-425D4A99A81B}">
      <dgm:prSet phldr="0" custT="1"/>
      <dgm:spPr/>
      <dgm:t>
        <a:bodyPr vert="horz" wrap="square"/>
        <a:lstStyle/>
        <a:p>
          <a:pPr>
            <a:lnSpc>
              <a:spcPct val="100000"/>
            </a:lnSpc>
            <a:spcBef>
              <a:spcPct val="0"/>
            </a:spcBef>
            <a:spcAft>
              <a:spcPct val="35000"/>
            </a:spcAft>
          </a:pPr>
          <a:r>
            <a:rPr lang="en-US" sz="1800" dirty="0">
              <a:solidFill>
                <a:schemeClr val="bg1"/>
              </a:solidFill>
              <a:latin typeface="Calibri" panose="020F0502020204030204" pitchFamily="34" charset="0"/>
              <a:cs typeface="Calibri" panose="020F0502020204030204" pitchFamily="34" charset="0"/>
            </a:rPr>
            <a:t>Sustainability Audit is Necessary &amp; Audit Selection </a:t>
          </a:r>
        </a:p>
      </dgm:t>
    </dgm:pt>
    <dgm:pt modelId="{5EC1EED7-BBF5-4B4C-A46A-786D596E8B94}" type="parTrans" cxnId="{FE57D7B1-FB72-49B4-A264-878A7A630E2B}">
      <dgm:prSet/>
      <dgm:spPr/>
      <dgm:t>
        <a:bodyPr/>
        <a:lstStyle/>
        <a:p>
          <a:endParaRPr lang="zh-CN" altLang="en-US" sz="1800">
            <a:latin typeface="Calibri" panose="020F0502020204030204" pitchFamily="34" charset="0"/>
            <a:cs typeface="Calibri" panose="020F0502020204030204" pitchFamily="34" charset="0"/>
          </a:endParaRPr>
        </a:p>
      </dgm:t>
    </dgm:pt>
    <dgm:pt modelId="{7BAAD626-D974-476B-ACA7-853CBEB220A2}" type="sibTrans" cxnId="{FE57D7B1-FB72-49B4-A264-878A7A630E2B}">
      <dgm:prSet custT="1"/>
      <dgm:spPr/>
      <dgm:t>
        <a:bodyPr/>
        <a:lstStyle/>
        <a:p>
          <a:endParaRPr lang="zh-CN" altLang="en-US" sz="1800">
            <a:latin typeface="Calibri" panose="020F0502020204030204" pitchFamily="34" charset="0"/>
            <a:cs typeface="Calibri" panose="020F0502020204030204" pitchFamily="34" charset="0"/>
          </a:endParaRPr>
        </a:p>
      </dgm:t>
    </dgm:pt>
    <dgm:pt modelId="{BF686D76-89E2-4141-870E-D414A1E6FC5A}">
      <dgm:prSet phldr="0" custT="1"/>
      <dgm:spPr/>
      <dgm:t>
        <a:bodyPr vert="horz" wrap="square"/>
        <a:lstStyle/>
        <a:p>
          <a:pPr>
            <a:lnSpc>
              <a:spcPct val="100000"/>
            </a:lnSpc>
            <a:spcBef>
              <a:spcPct val="0"/>
            </a:spcBef>
            <a:spcAft>
              <a:spcPct val="35000"/>
            </a:spcAft>
          </a:pPr>
          <a:r>
            <a:rPr lang="en-US" altLang="zh-CN" sz="1800" dirty="0">
              <a:solidFill>
                <a:schemeClr val="bg1"/>
              </a:solidFill>
              <a:latin typeface="Calibri" panose="020F0502020204030204" pitchFamily="34" charset="0"/>
              <a:cs typeface="Calibri" panose="020F0502020204030204" pitchFamily="34" charset="0"/>
            </a:rPr>
            <a:t>Audit</a:t>
          </a:r>
          <a:r>
            <a:rPr lang="en-US" altLang="zh-CN" sz="1800" baseline="0" dirty="0">
              <a:solidFill>
                <a:schemeClr val="bg1"/>
              </a:solidFill>
              <a:latin typeface="Calibri" panose="020F0502020204030204" pitchFamily="34" charset="0"/>
              <a:cs typeface="Calibri" panose="020F0502020204030204" pitchFamily="34" charset="0"/>
            </a:rPr>
            <a:t> Preparation </a:t>
          </a:r>
        </a:p>
      </dgm:t>
    </dgm:pt>
    <dgm:pt modelId="{4B5347C9-7EB2-4DB3-AC7A-F954006C2F43}" type="parTrans" cxnId="{12B92116-BF8C-4F47-A255-EF4FFFDF619D}">
      <dgm:prSet/>
      <dgm:spPr/>
      <dgm:t>
        <a:bodyPr/>
        <a:lstStyle/>
        <a:p>
          <a:endParaRPr lang="zh-CN" altLang="en-US" sz="1800">
            <a:latin typeface="Calibri" panose="020F0502020204030204" pitchFamily="34" charset="0"/>
            <a:cs typeface="Calibri" panose="020F0502020204030204" pitchFamily="34" charset="0"/>
          </a:endParaRPr>
        </a:p>
      </dgm:t>
    </dgm:pt>
    <dgm:pt modelId="{A1F80322-1DCE-40C1-8EA5-445F1BF4CFD9}" type="sibTrans" cxnId="{12B92116-BF8C-4F47-A255-EF4FFFDF619D}">
      <dgm:prSet custT="1"/>
      <dgm:spPr/>
      <dgm:t>
        <a:bodyPr/>
        <a:lstStyle/>
        <a:p>
          <a:endParaRPr lang="zh-CN" altLang="en-US" sz="1800">
            <a:latin typeface="Calibri" panose="020F0502020204030204" pitchFamily="34" charset="0"/>
            <a:cs typeface="Calibri" panose="020F0502020204030204" pitchFamily="34" charset="0"/>
          </a:endParaRPr>
        </a:p>
      </dgm:t>
    </dgm:pt>
    <dgm:pt modelId="{8D3E75D1-C017-4DB3-859F-19A5F865871F}">
      <dgm:prSet phldr="0" custT="1"/>
      <dgm:spPr/>
      <dgm:t>
        <a:bodyPr vert="horz" wrap="square"/>
        <a:lstStyle/>
        <a:p>
          <a:pPr>
            <a:lnSpc>
              <a:spcPct val="100000"/>
            </a:lnSpc>
            <a:spcBef>
              <a:spcPct val="0"/>
            </a:spcBef>
            <a:spcAft>
              <a:spcPct val="35000"/>
            </a:spcAft>
          </a:pPr>
          <a:r>
            <a:rPr lang="en-US" altLang="zh-CN" sz="1800" dirty="0">
              <a:solidFill>
                <a:schemeClr val="bg1"/>
              </a:solidFill>
              <a:latin typeface="Calibri" panose="020F0502020204030204" pitchFamily="34" charset="0"/>
              <a:cs typeface="Calibri" panose="020F0502020204030204" pitchFamily="34" charset="0"/>
            </a:rPr>
            <a:t>Audit </a:t>
          </a:r>
          <a:r>
            <a:rPr lang="en-US" altLang="zh-CN" sz="1800" dirty="0">
              <a:solidFill>
                <a:schemeClr val="bg1"/>
              </a:solidFill>
              <a:latin typeface="Calibri" panose="020F0502020204030204" pitchFamily="34" charset="0"/>
              <a:cs typeface="Calibri" panose="020F0502020204030204" pitchFamily="34" charset="0"/>
              <a:sym typeface="+mn-ea"/>
            </a:rPr>
            <a:t>Execution</a:t>
          </a:r>
          <a:r>
            <a:rPr lang="en-US" altLang="zh-CN" sz="1800" dirty="0">
              <a:solidFill>
                <a:schemeClr val="bg1"/>
              </a:solidFill>
              <a:latin typeface="Calibri" panose="020F0502020204030204" pitchFamily="34" charset="0"/>
              <a:cs typeface="Calibri" panose="020F0502020204030204" pitchFamily="34" charset="0"/>
            </a:rPr>
            <a:t> </a:t>
          </a:r>
        </a:p>
      </dgm:t>
    </dgm:pt>
    <dgm:pt modelId="{3CB7FAC1-18FD-468A-AF40-15A58C131A72}" type="parTrans" cxnId="{51906D53-FCC5-4C47-B8AE-9088C7BAB167}">
      <dgm:prSet/>
      <dgm:spPr/>
      <dgm:t>
        <a:bodyPr/>
        <a:lstStyle/>
        <a:p>
          <a:endParaRPr lang="zh-CN" altLang="en-US" sz="1800">
            <a:latin typeface="Calibri" panose="020F0502020204030204" pitchFamily="34" charset="0"/>
            <a:cs typeface="Calibri" panose="020F0502020204030204" pitchFamily="34" charset="0"/>
          </a:endParaRPr>
        </a:p>
      </dgm:t>
    </dgm:pt>
    <dgm:pt modelId="{8FCA02C4-0541-4823-96B8-7D2B0D85F880}" type="sibTrans" cxnId="{51906D53-FCC5-4C47-B8AE-9088C7BAB167}">
      <dgm:prSet custT="1"/>
      <dgm:spPr/>
      <dgm:t>
        <a:bodyPr/>
        <a:lstStyle/>
        <a:p>
          <a:endParaRPr lang="zh-CN" altLang="en-US" sz="1800">
            <a:latin typeface="Calibri" panose="020F0502020204030204" pitchFamily="34" charset="0"/>
            <a:cs typeface="Calibri" panose="020F0502020204030204" pitchFamily="34" charset="0"/>
          </a:endParaRPr>
        </a:p>
      </dgm:t>
    </dgm:pt>
    <dgm:pt modelId="{8AA6C99D-470E-4851-9993-8B70F33215CD}">
      <dgm:prSet phldr="0" custT="1"/>
      <dgm:spPr/>
      <dgm:t>
        <a:bodyPr vert="horz" wrap="square"/>
        <a:lstStyle/>
        <a:p>
          <a:pPr>
            <a:lnSpc>
              <a:spcPct val="100000"/>
            </a:lnSpc>
            <a:spcBef>
              <a:spcPct val="0"/>
            </a:spcBef>
            <a:spcAft>
              <a:spcPct val="35000"/>
            </a:spcAft>
          </a:pPr>
          <a:r>
            <a:rPr lang="en-US" altLang="zh-CN" sz="1800" baseline="0" dirty="0">
              <a:solidFill>
                <a:schemeClr val="bg1"/>
              </a:solidFill>
              <a:latin typeface="Calibri" panose="020F0502020204030204" pitchFamily="34" charset="0"/>
              <a:cs typeface="Calibri" panose="020F0502020204030204" pitchFamily="34" charset="0"/>
            </a:rPr>
            <a:t>Audit Output &amp; Non-Conformance Resolution  </a:t>
          </a:r>
        </a:p>
      </dgm:t>
    </dgm:pt>
    <dgm:pt modelId="{F2ED71B7-4A40-47C0-A79A-D84CCB8D7893}" type="parTrans" cxnId="{CFB8DB6F-5103-4C30-8EA9-C25786C3C64D}">
      <dgm:prSet/>
      <dgm:spPr/>
      <dgm:t>
        <a:bodyPr/>
        <a:lstStyle/>
        <a:p>
          <a:endParaRPr lang="zh-CN" altLang="en-US" sz="1800">
            <a:latin typeface="Calibri" panose="020F0502020204030204" pitchFamily="34" charset="0"/>
            <a:cs typeface="Calibri" panose="020F0502020204030204" pitchFamily="34" charset="0"/>
          </a:endParaRPr>
        </a:p>
      </dgm:t>
    </dgm:pt>
    <dgm:pt modelId="{B70934DF-637A-4F02-A83D-4CC41066B76B}" type="sibTrans" cxnId="{CFB8DB6F-5103-4C30-8EA9-C25786C3C64D}">
      <dgm:prSet custT="1"/>
      <dgm:spPr/>
      <dgm:t>
        <a:bodyPr/>
        <a:lstStyle/>
        <a:p>
          <a:endParaRPr lang="zh-CN" altLang="en-US" sz="1800">
            <a:latin typeface="Calibri" panose="020F0502020204030204" pitchFamily="34" charset="0"/>
            <a:cs typeface="Calibri" panose="020F0502020204030204" pitchFamily="34" charset="0"/>
          </a:endParaRPr>
        </a:p>
      </dgm:t>
    </dgm:pt>
    <dgm:pt modelId="{314FF2F3-03C4-429F-825F-22905A75B21F}" type="pres">
      <dgm:prSet presAssocID="{D488F3EE-0F56-4DC2-A48E-1DB309C2EA6D}" presName="Name0" presStyleCnt="0">
        <dgm:presLayoutVars>
          <dgm:dir/>
          <dgm:resizeHandles val="exact"/>
        </dgm:presLayoutVars>
      </dgm:prSet>
      <dgm:spPr/>
    </dgm:pt>
    <dgm:pt modelId="{13DD83C9-46DE-4576-A4E0-90D142CC4F1B}" type="pres">
      <dgm:prSet presAssocID="{7E461533-A8DB-4F15-B854-425D4A99A81B}" presName="node" presStyleLbl="node1" presStyleIdx="0" presStyleCnt="4" custScaleX="117567">
        <dgm:presLayoutVars>
          <dgm:bulletEnabled val="1"/>
        </dgm:presLayoutVars>
      </dgm:prSet>
      <dgm:spPr/>
    </dgm:pt>
    <dgm:pt modelId="{2B4227F5-D2B8-4FC7-AD32-3E6ECECDFA74}" type="pres">
      <dgm:prSet presAssocID="{7BAAD626-D974-476B-ACA7-853CBEB220A2}" presName="sibTrans" presStyleLbl="sibTrans2D1" presStyleIdx="0" presStyleCnt="3"/>
      <dgm:spPr/>
    </dgm:pt>
    <dgm:pt modelId="{B49E632B-DD90-4585-9F53-2EF3DFDD695D}" type="pres">
      <dgm:prSet presAssocID="{7BAAD626-D974-476B-ACA7-853CBEB220A2}" presName="connectorText" presStyleLbl="sibTrans2D1" presStyleIdx="0" presStyleCnt="3"/>
      <dgm:spPr/>
    </dgm:pt>
    <dgm:pt modelId="{7AE43F2A-BC5C-4B15-80D1-5676B5B24515}" type="pres">
      <dgm:prSet presAssocID="{BF686D76-89E2-4141-870E-D414A1E6FC5A}" presName="node" presStyleLbl="node1" presStyleIdx="1" presStyleCnt="4">
        <dgm:presLayoutVars>
          <dgm:bulletEnabled val="1"/>
        </dgm:presLayoutVars>
      </dgm:prSet>
      <dgm:spPr/>
    </dgm:pt>
    <dgm:pt modelId="{FFC7A454-9C33-44AB-BEF0-CF73344F777C}" type="pres">
      <dgm:prSet presAssocID="{A1F80322-1DCE-40C1-8EA5-445F1BF4CFD9}" presName="sibTrans" presStyleLbl="sibTrans2D1" presStyleIdx="1" presStyleCnt="3"/>
      <dgm:spPr/>
    </dgm:pt>
    <dgm:pt modelId="{80F3F130-0208-4756-92B7-491CBF14C8B6}" type="pres">
      <dgm:prSet presAssocID="{A1F80322-1DCE-40C1-8EA5-445F1BF4CFD9}" presName="connectorText" presStyleLbl="sibTrans2D1" presStyleIdx="1" presStyleCnt="3"/>
      <dgm:spPr/>
    </dgm:pt>
    <dgm:pt modelId="{30492ABE-A24C-4E96-8263-3AA71590154A}" type="pres">
      <dgm:prSet presAssocID="{8D3E75D1-C017-4DB3-859F-19A5F865871F}" presName="node" presStyleLbl="node1" presStyleIdx="2" presStyleCnt="4" custScaleX="109554">
        <dgm:presLayoutVars>
          <dgm:bulletEnabled val="1"/>
        </dgm:presLayoutVars>
      </dgm:prSet>
      <dgm:spPr/>
    </dgm:pt>
    <dgm:pt modelId="{A9585485-097E-47DE-A01F-CA34E179C36B}" type="pres">
      <dgm:prSet presAssocID="{8FCA02C4-0541-4823-96B8-7D2B0D85F880}" presName="sibTrans" presStyleLbl="sibTrans2D1" presStyleIdx="2" presStyleCnt="3"/>
      <dgm:spPr/>
    </dgm:pt>
    <dgm:pt modelId="{1327AA0B-AFE7-4B05-B396-C63C35329C59}" type="pres">
      <dgm:prSet presAssocID="{8FCA02C4-0541-4823-96B8-7D2B0D85F880}" presName="connectorText" presStyleLbl="sibTrans2D1" presStyleIdx="2" presStyleCnt="3"/>
      <dgm:spPr/>
    </dgm:pt>
    <dgm:pt modelId="{23477498-BFD0-425B-8D33-37E3B5CC0D94}" type="pres">
      <dgm:prSet presAssocID="{8AA6C99D-470E-4851-9993-8B70F33215CD}" presName="node" presStyleLbl="node1" presStyleIdx="3" presStyleCnt="4">
        <dgm:presLayoutVars>
          <dgm:bulletEnabled val="1"/>
        </dgm:presLayoutVars>
      </dgm:prSet>
      <dgm:spPr/>
    </dgm:pt>
  </dgm:ptLst>
  <dgm:cxnLst>
    <dgm:cxn modelId="{12B92116-BF8C-4F47-A255-EF4FFFDF619D}" srcId="{D488F3EE-0F56-4DC2-A48E-1DB309C2EA6D}" destId="{BF686D76-89E2-4141-870E-D414A1E6FC5A}" srcOrd="1" destOrd="0" parTransId="{4B5347C9-7EB2-4DB3-AC7A-F954006C2F43}" sibTransId="{A1F80322-1DCE-40C1-8EA5-445F1BF4CFD9}"/>
    <dgm:cxn modelId="{CD129A30-3868-430F-A487-A47772602E72}" type="presOf" srcId="{7BAAD626-D974-476B-ACA7-853CBEB220A2}" destId="{2B4227F5-D2B8-4FC7-AD32-3E6ECECDFA74}" srcOrd="0" destOrd="0" presId="urn:microsoft.com/office/officeart/2005/8/layout/process1"/>
    <dgm:cxn modelId="{CE3B1460-EFE0-4D45-9AF5-D7D9147F8C7E}" type="presOf" srcId="{D488F3EE-0F56-4DC2-A48E-1DB309C2EA6D}" destId="{314FF2F3-03C4-429F-825F-22905A75B21F}" srcOrd="0" destOrd="0" presId="urn:microsoft.com/office/officeart/2005/8/layout/process1"/>
    <dgm:cxn modelId="{3CA42842-ED9D-4144-AE95-F7CE5E7D05F6}" type="presOf" srcId="{8D3E75D1-C017-4DB3-859F-19A5F865871F}" destId="{30492ABE-A24C-4E96-8263-3AA71590154A}" srcOrd="0" destOrd="0" presId="urn:microsoft.com/office/officeart/2005/8/layout/process1"/>
    <dgm:cxn modelId="{2B602569-9076-44B9-AE6D-E4CC0EBB6E2F}" type="presOf" srcId="{A1F80322-1DCE-40C1-8EA5-445F1BF4CFD9}" destId="{80F3F130-0208-4756-92B7-491CBF14C8B6}" srcOrd="1" destOrd="0" presId="urn:microsoft.com/office/officeart/2005/8/layout/process1"/>
    <dgm:cxn modelId="{CFB8DB6F-5103-4C30-8EA9-C25786C3C64D}" srcId="{D488F3EE-0F56-4DC2-A48E-1DB309C2EA6D}" destId="{8AA6C99D-470E-4851-9993-8B70F33215CD}" srcOrd="3" destOrd="0" parTransId="{F2ED71B7-4A40-47C0-A79A-D84CCB8D7893}" sibTransId="{B70934DF-637A-4F02-A83D-4CC41066B76B}"/>
    <dgm:cxn modelId="{51906D53-FCC5-4C47-B8AE-9088C7BAB167}" srcId="{D488F3EE-0F56-4DC2-A48E-1DB309C2EA6D}" destId="{8D3E75D1-C017-4DB3-859F-19A5F865871F}" srcOrd="2" destOrd="0" parTransId="{3CB7FAC1-18FD-468A-AF40-15A58C131A72}" sibTransId="{8FCA02C4-0541-4823-96B8-7D2B0D85F880}"/>
    <dgm:cxn modelId="{D89E9984-C7E9-4278-A1F3-43FA8678CC48}" type="presOf" srcId="{7BAAD626-D974-476B-ACA7-853CBEB220A2}" destId="{B49E632B-DD90-4585-9F53-2EF3DFDD695D}" srcOrd="1" destOrd="0" presId="urn:microsoft.com/office/officeart/2005/8/layout/process1"/>
    <dgm:cxn modelId="{8B2B31A2-DFAB-4BC2-9D30-628DBF4D6DCE}" type="presOf" srcId="{8FCA02C4-0541-4823-96B8-7D2B0D85F880}" destId="{A9585485-097E-47DE-A01F-CA34E179C36B}" srcOrd="0" destOrd="0" presId="urn:microsoft.com/office/officeart/2005/8/layout/process1"/>
    <dgm:cxn modelId="{79697DAD-CE46-40C9-95ED-AA13D077DCC8}" type="presOf" srcId="{A1F80322-1DCE-40C1-8EA5-445F1BF4CFD9}" destId="{FFC7A454-9C33-44AB-BEF0-CF73344F777C}" srcOrd="0" destOrd="0" presId="urn:microsoft.com/office/officeart/2005/8/layout/process1"/>
    <dgm:cxn modelId="{FE57D7B1-FB72-49B4-A264-878A7A630E2B}" srcId="{D488F3EE-0F56-4DC2-A48E-1DB309C2EA6D}" destId="{7E461533-A8DB-4F15-B854-425D4A99A81B}" srcOrd="0" destOrd="0" parTransId="{5EC1EED7-BBF5-4B4C-A46A-786D596E8B94}" sibTransId="{7BAAD626-D974-476B-ACA7-853CBEB220A2}"/>
    <dgm:cxn modelId="{CC2F30BD-C464-4545-9111-D184EDF4A150}" type="presOf" srcId="{8FCA02C4-0541-4823-96B8-7D2B0D85F880}" destId="{1327AA0B-AFE7-4B05-B396-C63C35329C59}" srcOrd="1" destOrd="0" presId="urn:microsoft.com/office/officeart/2005/8/layout/process1"/>
    <dgm:cxn modelId="{C0EF28C4-E01E-48CB-8C3B-6985CCC5F31A}" type="presOf" srcId="{7E461533-A8DB-4F15-B854-425D4A99A81B}" destId="{13DD83C9-46DE-4576-A4E0-90D142CC4F1B}" srcOrd="0" destOrd="0" presId="urn:microsoft.com/office/officeart/2005/8/layout/process1"/>
    <dgm:cxn modelId="{7F5D4DD4-6624-493F-9E73-4AE3509D2230}" type="presOf" srcId="{BF686D76-89E2-4141-870E-D414A1E6FC5A}" destId="{7AE43F2A-BC5C-4B15-80D1-5676B5B24515}" srcOrd="0" destOrd="0" presId="urn:microsoft.com/office/officeart/2005/8/layout/process1"/>
    <dgm:cxn modelId="{50D010E4-DB00-4797-A39E-77B7BF2E7109}" type="presOf" srcId="{8AA6C99D-470E-4851-9993-8B70F33215CD}" destId="{23477498-BFD0-425B-8D33-37E3B5CC0D94}" srcOrd="0" destOrd="0" presId="urn:microsoft.com/office/officeart/2005/8/layout/process1"/>
    <dgm:cxn modelId="{BA3B54A8-5B15-4AF6-9AA1-BB9CC03441E8}" type="presParOf" srcId="{314FF2F3-03C4-429F-825F-22905A75B21F}" destId="{13DD83C9-46DE-4576-A4E0-90D142CC4F1B}" srcOrd="0" destOrd="0" presId="urn:microsoft.com/office/officeart/2005/8/layout/process1"/>
    <dgm:cxn modelId="{4A4AE45A-D7C2-48C0-9573-04B695EE86BD}" type="presParOf" srcId="{314FF2F3-03C4-429F-825F-22905A75B21F}" destId="{2B4227F5-D2B8-4FC7-AD32-3E6ECECDFA74}" srcOrd="1" destOrd="0" presId="urn:microsoft.com/office/officeart/2005/8/layout/process1"/>
    <dgm:cxn modelId="{33568281-2F43-4CD9-9B0C-3EAFBA186933}" type="presParOf" srcId="{2B4227F5-D2B8-4FC7-AD32-3E6ECECDFA74}" destId="{B49E632B-DD90-4585-9F53-2EF3DFDD695D}" srcOrd="0" destOrd="0" presId="urn:microsoft.com/office/officeart/2005/8/layout/process1"/>
    <dgm:cxn modelId="{8CEB2870-EE0E-4DF9-B90E-DFAD8F7E2211}" type="presParOf" srcId="{314FF2F3-03C4-429F-825F-22905A75B21F}" destId="{7AE43F2A-BC5C-4B15-80D1-5676B5B24515}" srcOrd="2" destOrd="0" presId="urn:microsoft.com/office/officeart/2005/8/layout/process1"/>
    <dgm:cxn modelId="{79E220C7-5734-42AE-B982-DB395FAC982B}" type="presParOf" srcId="{314FF2F3-03C4-429F-825F-22905A75B21F}" destId="{FFC7A454-9C33-44AB-BEF0-CF73344F777C}" srcOrd="3" destOrd="0" presId="urn:microsoft.com/office/officeart/2005/8/layout/process1"/>
    <dgm:cxn modelId="{811D7AA4-4D36-4793-B629-A8DBE34AB499}" type="presParOf" srcId="{FFC7A454-9C33-44AB-BEF0-CF73344F777C}" destId="{80F3F130-0208-4756-92B7-491CBF14C8B6}" srcOrd="0" destOrd="0" presId="urn:microsoft.com/office/officeart/2005/8/layout/process1"/>
    <dgm:cxn modelId="{7AD30F7A-3093-4490-AB43-A2159B8F68A8}" type="presParOf" srcId="{314FF2F3-03C4-429F-825F-22905A75B21F}" destId="{30492ABE-A24C-4E96-8263-3AA71590154A}" srcOrd="4" destOrd="0" presId="urn:microsoft.com/office/officeart/2005/8/layout/process1"/>
    <dgm:cxn modelId="{608AB3AE-9D0B-4AF4-9102-E46C235B4014}" type="presParOf" srcId="{314FF2F3-03C4-429F-825F-22905A75B21F}" destId="{A9585485-097E-47DE-A01F-CA34E179C36B}" srcOrd="5" destOrd="0" presId="urn:microsoft.com/office/officeart/2005/8/layout/process1"/>
    <dgm:cxn modelId="{9B29877F-8E9B-403A-B910-52715A61C2B4}" type="presParOf" srcId="{A9585485-097E-47DE-A01F-CA34E179C36B}" destId="{1327AA0B-AFE7-4B05-B396-C63C35329C59}" srcOrd="0" destOrd="0" presId="urn:microsoft.com/office/officeart/2005/8/layout/process1"/>
    <dgm:cxn modelId="{FA2F073A-51B1-4225-8742-B5D71EC0A7D1}" type="presParOf" srcId="{314FF2F3-03C4-429F-825F-22905A75B21F}" destId="{23477498-BFD0-425B-8D33-37E3B5CC0D94}" srcOrd="6"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68FBB7B-694A-47BF-865D-2F44C1051453}" type="doc">
      <dgm:prSet loTypeId="urn:microsoft.com/office/officeart/2005/8/layout/hList1" loCatId="list" qsTypeId="urn:microsoft.com/office/officeart/2005/8/quickstyle/simple1#1" qsCatId="simple" csTypeId="urn:microsoft.com/office/officeart/2005/8/colors/accent1_2#1" csCatId="accent1" phldr="1"/>
      <dgm:spPr/>
      <dgm:t>
        <a:bodyPr/>
        <a:lstStyle/>
        <a:p>
          <a:endParaRPr lang="zh-CN" altLang="en-US"/>
        </a:p>
      </dgm:t>
    </dgm:pt>
    <dgm:pt modelId="{BD5427FF-4EB1-4006-BF7F-42158E0C5129}">
      <dgm:prSet phldrT="[文本]" phldr="0" custT="1"/>
      <dgm:spPr/>
      <dgm:t>
        <a:bodyPr vert="horz" wrap="square"/>
        <a:lstStyle/>
        <a:p>
          <a:pPr>
            <a:lnSpc>
              <a:spcPct val="100000"/>
            </a:lnSpc>
            <a:spcBef>
              <a:spcPct val="0"/>
            </a:spcBef>
            <a:spcAft>
              <a:spcPct val="35000"/>
            </a:spcAft>
          </a:pPr>
          <a:r>
            <a:rPr lang="en-US" altLang="zh-CN" sz="2400" b="1" dirty="0">
              <a:solidFill>
                <a:schemeClr val="bg1"/>
              </a:solidFill>
              <a:uFillTx/>
              <a:latin typeface="Calibri" panose="020F0502020204030204" pitchFamily="34" charset="0"/>
            </a:rPr>
            <a:t>Opening Meeting</a:t>
          </a:r>
        </a:p>
      </dgm:t>
    </dgm:pt>
    <dgm:pt modelId="{A2F6D805-3B53-408A-A2A3-20BC3BF0D242}" type="parTrans" cxnId="{3DB7FDC0-A2B1-4B14-9451-2CDDEF565247}">
      <dgm:prSet/>
      <dgm:spPr/>
      <dgm:t>
        <a:bodyPr/>
        <a:lstStyle/>
        <a:p>
          <a:endParaRPr lang="zh-CN" altLang="en-US"/>
        </a:p>
      </dgm:t>
    </dgm:pt>
    <dgm:pt modelId="{D47F9812-1256-4E44-A6BE-BEC559BE8FF3}" type="sibTrans" cxnId="{3DB7FDC0-A2B1-4B14-9451-2CDDEF565247}">
      <dgm:prSet/>
      <dgm:spPr/>
      <dgm:t>
        <a:bodyPr/>
        <a:lstStyle/>
        <a:p>
          <a:endParaRPr lang="zh-CN" altLang="en-US"/>
        </a:p>
      </dgm:t>
    </dgm:pt>
    <dgm:pt modelId="{3A7B819B-DBE9-4610-B22A-5573EA6D532D}">
      <dgm:prSet phldrT="[文本]" phldr="0" custT="1"/>
      <dgm:spPr/>
      <dgm:t>
        <a:bodyPr vert="horz" wrap="square"/>
        <a:lstStyle/>
        <a:p>
          <a:pPr eaLnBrk="1" fontAlgn="auto" latinLnBrk="0" hangingPunct="1">
            <a:lnSpc>
              <a:spcPct val="100000"/>
            </a:lnSpc>
            <a:spcBef>
              <a:spcPts val="600"/>
            </a:spcBef>
            <a:spcAft>
              <a:spcPts val="600"/>
            </a:spcAft>
          </a:pPr>
          <a:r>
            <a:rPr lang="zh-CN" altLang="en-US" sz="1400" dirty="0">
              <a:solidFill>
                <a:schemeClr val="tx1"/>
              </a:solidFill>
              <a:uFillTx/>
              <a:latin typeface="Calibri" panose="020F0502020204030204" pitchFamily="34" charset="0"/>
            </a:rPr>
            <a:t>Introduce the audit team</a:t>
          </a:r>
        </a:p>
      </dgm:t>
    </dgm:pt>
    <dgm:pt modelId="{DC4BEA23-BF6E-42AD-9BF0-CFBDE86A80F1}" type="parTrans" cxnId="{EFBBEFB7-DB38-44AB-A6D1-FB0429521242}">
      <dgm:prSet/>
      <dgm:spPr/>
      <dgm:t>
        <a:bodyPr/>
        <a:lstStyle/>
        <a:p>
          <a:endParaRPr lang="zh-CN" altLang="en-US"/>
        </a:p>
      </dgm:t>
    </dgm:pt>
    <dgm:pt modelId="{0BF6ACD3-AE1A-4691-8CBE-DBE77AB8A685}" type="sibTrans" cxnId="{EFBBEFB7-DB38-44AB-A6D1-FB0429521242}">
      <dgm:prSet/>
      <dgm:spPr/>
      <dgm:t>
        <a:bodyPr/>
        <a:lstStyle/>
        <a:p>
          <a:endParaRPr lang="zh-CN" altLang="en-US"/>
        </a:p>
      </dgm:t>
    </dgm:pt>
    <dgm:pt modelId="{F162B3F7-FA22-4E8A-825C-712B9A02B2C3}">
      <dgm:prSet phldr="0" custT="1"/>
      <dgm:spPr/>
      <dgm:t>
        <a:bodyPr vert="horz" wrap="square"/>
        <a:lstStyle/>
        <a:p>
          <a:pPr eaLnBrk="1" fontAlgn="auto" latinLnBrk="0" hangingPunct="1">
            <a:lnSpc>
              <a:spcPct val="100000"/>
            </a:lnSpc>
            <a:spcBef>
              <a:spcPts val="600"/>
            </a:spcBef>
            <a:spcAft>
              <a:spcPts val="600"/>
            </a:spcAft>
          </a:pPr>
          <a:r>
            <a:rPr lang="zh-CN" altLang="en-US" sz="1400" dirty="0">
              <a:solidFill>
                <a:schemeClr val="tx1"/>
              </a:solidFill>
              <a:uFillTx/>
              <a:latin typeface="Calibri" panose="020F0502020204030204" pitchFamily="34" charset="0"/>
            </a:rPr>
            <a:t>Explain the purpose and scope of the audit</a:t>
          </a:r>
        </a:p>
      </dgm:t>
    </dgm:pt>
    <dgm:pt modelId="{DF019F52-7537-486A-AEF5-898C6E05A2B3}" type="parTrans" cxnId="{D3B606DF-F17B-41DD-BA70-29A94A4FB3DB}">
      <dgm:prSet/>
      <dgm:spPr/>
      <dgm:t>
        <a:bodyPr/>
        <a:lstStyle/>
        <a:p>
          <a:endParaRPr lang="en-US"/>
        </a:p>
      </dgm:t>
    </dgm:pt>
    <dgm:pt modelId="{0CB9D9B0-1221-4223-8A32-42A7C859AFF8}" type="sibTrans" cxnId="{D3B606DF-F17B-41DD-BA70-29A94A4FB3DB}">
      <dgm:prSet/>
      <dgm:spPr/>
      <dgm:t>
        <a:bodyPr/>
        <a:lstStyle/>
        <a:p>
          <a:endParaRPr lang="en-US"/>
        </a:p>
      </dgm:t>
    </dgm:pt>
    <dgm:pt modelId="{C1BA35B8-519A-4A29-998E-87DFE3A31091}">
      <dgm:prSet phldr="0" custT="1"/>
      <dgm:spPr/>
      <dgm:t>
        <a:bodyPr vert="horz" wrap="square"/>
        <a:lstStyle/>
        <a:p>
          <a:pPr eaLnBrk="1" fontAlgn="auto" latinLnBrk="0" hangingPunct="1">
            <a:lnSpc>
              <a:spcPct val="100000"/>
            </a:lnSpc>
            <a:spcBef>
              <a:spcPts val="600"/>
            </a:spcBef>
            <a:spcAft>
              <a:spcPts val="600"/>
            </a:spcAft>
          </a:pPr>
          <a:r>
            <a:rPr lang="zh-CN" altLang="en-US" sz="1400" dirty="0">
              <a:solidFill>
                <a:schemeClr val="tx1"/>
              </a:solidFill>
              <a:uFillTx/>
              <a:latin typeface="Calibri" panose="020F0502020204030204" pitchFamily="34" charset="0"/>
            </a:rPr>
            <a:t>Outline the audit process</a:t>
          </a:r>
        </a:p>
      </dgm:t>
    </dgm:pt>
    <dgm:pt modelId="{861E91C7-FF8E-418A-ABC9-571BB990C361}" type="parTrans" cxnId="{B62FCF65-9901-40B2-A722-C439D930678D}">
      <dgm:prSet/>
      <dgm:spPr/>
      <dgm:t>
        <a:bodyPr/>
        <a:lstStyle/>
        <a:p>
          <a:endParaRPr lang="en-US"/>
        </a:p>
      </dgm:t>
    </dgm:pt>
    <dgm:pt modelId="{897C0216-8C76-4954-A933-1723A46F5BBB}" type="sibTrans" cxnId="{B62FCF65-9901-40B2-A722-C439D930678D}">
      <dgm:prSet/>
      <dgm:spPr/>
      <dgm:t>
        <a:bodyPr/>
        <a:lstStyle/>
        <a:p>
          <a:endParaRPr lang="en-US"/>
        </a:p>
      </dgm:t>
    </dgm:pt>
    <dgm:pt modelId="{BF812042-B049-426F-AD4B-F011F95F695D}">
      <dgm:prSet phldr="0" custT="1"/>
      <dgm:spPr/>
      <dgm:t>
        <a:bodyPr vert="horz" wrap="square"/>
        <a:lstStyle/>
        <a:p>
          <a:pPr eaLnBrk="1" fontAlgn="auto" latinLnBrk="0" hangingPunct="1">
            <a:lnSpc>
              <a:spcPct val="100000"/>
            </a:lnSpc>
            <a:spcBef>
              <a:spcPts val="600"/>
            </a:spcBef>
            <a:spcAft>
              <a:spcPts val="600"/>
            </a:spcAft>
          </a:pPr>
          <a:r>
            <a:rPr lang="zh-CN" altLang="en-US" sz="1400" dirty="0">
              <a:solidFill>
                <a:schemeClr val="tx1"/>
              </a:solidFill>
              <a:uFillTx/>
              <a:latin typeface="Calibri" panose="020F0502020204030204" pitchFamily="34" charset="0"/>
            </a:rPr>
            <a:t>Confirm any special arrangements </a:t>
          </a:r>
          <a:r>
            <a:rPr lang="en-US" altLang="zh-CN" sz="1400" dirty="0">
              <a:solidFill>
                <a:schemeClr val="tx1"/>
              </a:solidFill>
              <a:uFillTx/>
              <a:latin typeface="Calibri" panose="020F0502020204030204" pitchFamily="34" charset="0"/>
            </a:rPr>
            <a:t>required for the factory site tour </a:t>
          </a:r>
          <a:endParaRPr lang="zh-CN" altLang="en-US" sz="1400" dirty="0">
            <a:solidFill>
              <a:schemeClr val="tx1"/>
            </a:solidFill>
            <a:uFillTx/>
            <a:latin typeface="Calibri" panose="020F0502020204030204" pitchFamily="34" charset="0"/>
          </a:endParaRPr>
        </a:p>
      </dgm:t>
    </dgm:pt>
    <dgm:pt modelId="{61588F7C-2753-4457-BB91-E2B16FB498C7}" type="parTrans" cxnId="{265A3D1C-98D7-4F0B-ABC9-0D079B82D561}">
      <dgm:prSet/>
      <dgm:spPr/>
      <dgm:t>
        <a:bodyPr/>
        <a:lstStyle/>
        <a:p>
          <a:endParaRPr lang="en-US"/>
        </a:p>
      </dgm:t>
    </dgm:pt>
    <dgm:pt modelId="{C97FF390-FAF2-4CA6-B9B5-E33901315A05}" type="sibTrans" cxnId="{265A3D1C-98D7-4F0B-ABC9-0D079B82D561}">
      <dgm:prSet/>
      <dgm:spPr/>
      <dgm:t>
        <a:bodyPr/>
        <a:lstStyle/>
        <a:p>
          <a:endParaRPr lang="en-US"/>
        </a:p>
      </dgm:t>
    </dgm:pt>
    <dgm:pt modelId="{91BA4479-F5D0-4A84-AC4F-1E638375C4C9}">
      <dgm:prSet phldr="0" custT="1"/>
      <dgm:spPr/>
      <dgm:t>
        <a:bodyPr vert="horz" wrap="square"/>
        <a:lstStyle/>
        <a:p>
          <a:pPr eaLnBrk="1" fontAlgn="auto" latinLnBrk="0" hangingPunct="1">
            <a:lnSpc>
              <a:spcPct val="100000"/>
            </a:lnSpc>
            <a:spcBef>
              <a:spcPts val="600"/>
            </a:spcBef>
            <a:spcAft>
              <a:spcPts val="600"/>
            </a:spcAft>
          </a:pPr>
          <a:r>
            <a:rPr lang="zh-CN" altLang="en-US" sz="1400" dirty="0">
              <a:solidFill>
                <a:schemeClr val="tx1"/>
              </a:solidFill>
              <a:uFillTx/>
              <a:latin typeface="Calibri" panose="020F0502020204030204" pitchFamily="34" charset="0"/>
            </a:rPr>
            <a:t> Provide an opportunity for questions and to address concerns</a:t>
          </a:r>
        </a:p>
      </dgm:t>
    </dgm:pt>
    <dgm:pt modelId="{F9B003BE-D868-48E5-983B-8ACE2859B638}" type="parTrans" cxnId="{73397B81-82C8-45BD-B447-68F89F5FADCC}">
      <dgm:prSet/>
      <dgm:spPr/>
      <dgm:t>
        <a:bodyPr/>
        <a:lstStyle/>
        <a:p>
          <a:endParaRPr lang="en-US"/>
        </a:p>
      </dgm:t>
    </dgm:pt>
    <dgm:pt modelId="{8445C6B9-69EF-4D41-9014-6D4AB07D1F38}" type="sibTrans" cxnId="{73397B81-82C8-45BD-B447-68F89F5FADCC}">
      <dgm:prSet/>
      <dgm:spPr/>
      <dgm:t>
        <a:bodyPr/>
        <a:lstStyle/>
        <a:p>
          <a:endParaRPr lang="en-US"/>
        </a:p>
      </dgm:t>
    </dgm:pt>
    <dgm:pt modelId="{FE969E54-0D5D-4815-BDC4-3309E2F7325D}">
      <dgm:prSet phldrT="[文本]" phldr="0" custT="1"/>
      <dgm:spPr/>
      <dgm:t>
        <a:bodyPr vert="horz" wrap="square"/>
        <a:lstStyle/>
        <a:p>
          <a:pPr>
            <a:lnSpc>
              <a:spcPct val="100000"/>
            </a:lnSpc>
            <a:spcBef>
              <a:spcPct val="0"/>
            </a:spcBef>
            <a:spcAft>
              <a:spcPct val="35000"/>
            </a:spcAft>
          </a:pPr>
          <a:r>
            <a:rPr lang="en-US" altLang="zh-CN" sz="2400" b="1" dirty="0">
              <a:latin typeface="Calibri" panose="020F0502020204030204" pitchFamily="34" charset="0"/>
              <a:cs typeface="Calibri" panose="020F0502020204030204" pitchFamily="34" charset="0"/>
            </a:rPr>
            <a:t>Factory Site Tour</a:t>
          </a:r>
        </a:p>
      </dgm:t>
    </dgm:pt>
    <dgm:pt modelId="{B5D9FB86-EEBE-488F-B7DE-B7CF5C9166C5}" type="parTrans" cxnId="{3ED1E543-EF6B-497B-A9B5-BB1D8FE9B3BE}">
      <dgm:prSet/>
      <dgm:spPr/>
      <dgm:t>
        <a:bodyPr/>
        <a:lstStyle/>
        <a:p>
          <a:endParaRPr lang="zh-CN" altLang="en-US"/>
        </a:p>
      </dgm:t>
    </dgm:pt>
    <dgm:pt modelId="{D7D19B67-C01A-45D3-B5C7-B7E1B18A9F62}" type="sibTrans" cxnId="{3ED1E543-EF6B-497B-A9B5-BB1D8FE9B3BE}">
      <dgm:prSet/>
      <dgm:spPr/>
      <dgm:t>
        <a:bodyPr/>
        <a:lstStyle/>
        <a:p>
          <a:endParaRPr lang="zh-CN" altLang="en-US"/>
        </a:p>
      </dgm:t>
    </dgm:pt>
    <dgm:pt modelId="{35600F67-42C2-4D1B-B072-DC2A36FCB136}">
      <dgm:prSet phldrT="[文本]" phldr="0" custT="1"/>
      <dgm:spPr/>
      <dgm:t>
        <a:bodyPr vert="horz" wrap="square"/>
        <a:lstStyle/>
        <a:p>
          <a:pPr eaLnBrk="1" fontAlgn="auto" latinLnBrk="0" hangingPunct="1">
            <a:lnSpc>
              <a:spcPct val="100000"/>
            </a:lnSpc>
            <a:spcBef>
              <a:spcPts val="600"/>
            </a:spcBef>
            <a:spcAft>
              <a:spcPts val="600"/>
            </a:spcAft>
          </a:pPr>
          <a:r>
            <a:rPr lang="en-US" altLang="zh-CN" sz="1400" dirty="0">
              <a:solidFill>
                <a:schemeClr val="tx1"/>
              </a:solidFill>
              <a:uFillTx/>
              <a:latin typeface="Calibri" panose="020F0502020204030204" pitchFamily="34" charset="0"/>
            </a:rPr>
            <a:t>O</a:t>
          </a:r>
          <a:r>
            <a:rPr lang="zh-CN" altLang="en-US" sz="1400" dirty="0">
              <a:solidFill>
                <a:schemeClr val="tx1"/>
              </a:solidFill>
              <a:uFillTx/>
              <a:latin typeface="Calibri" panose="020F0502020204030204" pitchFamily="34" charset="0"/>
            </a:rPr>
            <a:t>bserve the physical conditions and current practices</a:t>
          </a:r>
        </a:p>
      </dgm:t>
    </dgm:pt>
    <dgm:pt modelId="{B4BC79E1-FDBA-43D1-A988-1BE8090EDA7A}" type="parTrans" cxnId="{6BC72EDD-60C4-455F-A8EA-9AF866F25E1D}">
      <dgm:prSet/>
      <dgm:spPr/>
      <dgm:t>
        <a:bodyPr/>
        <a:lstStyle/>
        <a:p>
          <a:endParaRPr lang="zh-CN" altLang="en-US"/>
        </a:p>
      </dgm:t>
    </dgm:pt>
    <dgm:pt modelId="{AD46A0AA-C45A-46D2-89AF-28390F99F9D0}" type="sibTrans" cxnId="{6BC72EDD-60C4-455F-A8EA-9AF866F25E1D}">
      <dgm:prSet/>
      <dgm:spPr/>
      <dgm:t>
        <a:bodyPr/>
        <a:lstStyle/>
        <a:p>
          <a:endParaRPr lang="zh-CN" altLang="en-US"/>
        </a:p>
      </dgm:t>
    </dgm:pt>
    <dgm:pt modelId="{4765D3A2-8477-40F0-A589-7F01355F6172}">
      <dgm:prSet phldr="0" custT="1"/>
      <dgm:spPr/>
      <dgm:t>
        <a:bodyPr vert="horz" wrap="square"/>
        <a:lstStyle/>
        <a:p>
          <a:pPr eaLnBrk="1" fontAlgn="auto" latinLnBrk="0" hangingPunct="1">
            <a:lnSpc>
              <a:spcPct val="100000"/>
            </a:lnSpc>
            <a:spcBef>
              <a:spcPts val="600"/>
            </a:spcBef>
            <a:spcAft>
              <a:spcPts val="600"/>
            </a:spcAft>
          </a:pPr>
          <a:r>
            <a:rPr lang="zh-CN" altLang="en-US" sz="1400" dirty="0">
              <a:solidFill>
                <a:schemeClr val="tx1"/>
              </a:solidFill>
              <a:uFillTx/>
              <a:latin typeface="Calibri" panose="020F0502020204030204" pitchFamily="34" charset="0"/>
            </a:rPr>
            <a:t>Evaluate good environmental management practices.</a:t>
          </a:r>
        </a:p>
      </dgm:t>
    </dgm:pt>
    <dgm:pt modelId="{FC5CBD21-898D-4EE1-A991-494231287F01}" type="parTrans" cxnId="{96AED417-B872-4CC7-915C-68DA728A6D2D}">
      <dgm:prSet/>
      <dgm:spPr/>
      <dgm:t>
        <a:bodyPr/>
        <a:lstStyle/>
        <a:p>
          <a:endParaRPr lang="en-US"/>
        </a:p>
      </dgm:t>
    </dgm:pt>
    <dgm:pt modelId="{8B28D9A7-3431-45DB-8762-D5A7B30830C5}" type="sibTrans" cxnId="{96AED417-B872-4CC7-915C-68DA728A6D2D}">
      <dgm:prSet/>
      <dgm:spPr/>
      <dgm:t>
        <a:bodyPr/>
        <a:lstStyle/>
        <a:p>
          <a:endParaRPr lang="en-US"/>
        </a:p>
      </dgm:t>
    </dgm:pt>
    <dgm:pt modelId="{1001C0D9-6AA5-44E1-9A58-66D64183637E}">
      <dgm:prSet phldr="0" custT="1"/>
      <dgm:spPr/>
      <dgm:t>
        <a:bodyPr vert="horz" wrap="square"/>
        <a:lstStyle/>
        <a:p>
          <a:pPr eaLnBrk="1" fontAlgn="auto" latinLnBrk="0" hangingPunct="1">
            <a:lnSpc>
              <a:spcPct val="100000"/>
            </a:lnSpc>
            <a:spcBef>
              <a:spcPts val="600"/>
            </a:spcBef>
            <a:spcAft>
              <a:spcPts val="600"/>
            </a:spcAft>
          </a:pPr>
          <a:r>
            <a:rPr lang="zh-CN" altLang="en-US" sz="1400" dirty="0">
              <a:solidFill>
                <a:schemeClr val="tx1"/>
              </a:solidFill>
              <a:uFillTx/>
              <a:latin typeface="Calibri" panose="020F0502020204030204" pitchFamily="34" charset="0"/>
            </a:rPr>
            <a:t>Identify potentially vulnerable areas for </a:t>
          </a:r>
          <a:r>
            <a:rPr lang="en-US" altLang="zh-CN" sz="1400" dirty="0">
              <a:solidFill>
                <a:schemeClr val="tx1"/>
              </a:solidFill>
              <a:uFillTx/>
              <a:latin typeface="Calibri" panose="020F0502020204030204" pitchFamily="34" charset="0"/>
            </a:rPr>
            <a:t>pollution/emission </a:t>
          </a:r>
          <a:endParaRPr lang="zh-CN" altLang="en-US" sz="1400" dirty="0">
            <a:solidFill>
              <a:schemeClr val="tx1"/>
            </a:solidFill>
            <a:uFillTx/>
            <a:latin typeface="Calibri" panose="020F0502020204030204" pitchFamily="34" charset="0"/>
          </a:endParaRPr>
        </a:p>
      </dgm:t>
    </dgm:pt>
    <dgm:pt modelId="{2E3E6A47-295B-4AAA-B9D5-92061F5C1B1C}" type="parTrans" cxnId="{1C0BF031-050D-4F89-92D7-71CADDDCCFBA}">
      <dgm:prSet/>
      <dgm:spPr/>
      <dgm:t>
        <a:bodyPr/>
        <a:lstStyle/>
        <a:p>
          <a:endParaRPr lang="en-US"/>
        </a:p>
      </dgm:t>
    </dgm:pt>
    <dgm:pt modelId="{DE0F502C-45EE-45F7-8BF6-C82B04959DEF}" type="sibTrans" cxnId="{1C0BF031-050D-4F89-92D7-71CADDDCCFBA}">
      <dgm:prSet/>
      <dgm:spPr/>
      <dgm:t>
        <a:bodyPr/>
        <a:lstStyle/>
        <a:p>
          <a:endParaRPr lang="en-US"/>
        </a:p>
      </dgm:t>
    </dgm:pt>
    <dgm:pt modelId="{CAD66C55-F72B-417A-8EFD-4F7EE67184D7}">
      <dgm:prSet phldr="0" custT="1"/>
      <dgm:spPr/>
      <dgm:t>
        <a:bodyPr vert="horz" wrap="square"/>
        <a:lstStyle/>
        <a:p>
          <a:pPr eaLnBrk="1" fontAlgn="auto" latinLnBrk="0" hangingPunct="1">
            <a:lnSpc>
              <a:spcPct val="100000"/>
            </a:lnSpc>
            <a:spcBef>
              <a:spcPts val="600"/>
            </a:spcBef>
            <a:spcAft>
              <a:spcPts val="600"/>
            </a:spcAft>
          </a:pPr>
          <a:r>
            <a:rPr lang="zh-CN" altLang="en-US" sz="1400" dirty="0">
              <a:solidFill>
                <a:schemeClr val="tx1"/>
              </a:solidFill>
              <a:uFillTx/>
              <a:latin typeface="Calibri" panose="020F0502020204030204" pitchFamily="34" charset="0"/>
            </a:rPr>
            <a:t>Observe management systems and practices, including atmosphere between management and workers</a:t>
          </a:r>
        </a:p>
      </dgm:t>
    </dgm:pt>
    <dgm:pt modelId="{63677592-3911-45A8-B4BE-A23725390C49}" type="parTrans" cxnId="{1EDCCA10-05C1-4670-8979-69FF2CA36992}">
      <dgm:prSet/>
      <dgm:spPr/>
      <dgm:t>
        <a:bodyPr/>
        <a:lstStyle/>
        <a:p>
          <a:endParaRPr lang="en-US"/>
        </a:p>
      </dgm:t>
    </dgm:pt>
    <dgm:pt modelId="{7A445020-68E8-46B0-AC68-B177CD984639}" type="sibTrans" cxnId="{1EDCCA10-05C1-4670-8979-69FF2CA36992}">
      <dgm:prSet/>
      <dgm:spPr/>
      <dgm:t>
        <a:bodyPr/>
        <a:lstStyle/>
        <a:p>
          <a:endParaRPr lang="en-US"/>
        </a:p>
      </dgm:t>
    </dgm:pt>
    <dgm:pt modelId="{2AD1EC59-D3C7-446D-852B-0845CACC0C09}">
      <dgm:prSet phldr="0" custT="1"/>
      <dgm:spPr/>
      <dgm:t>
        <a:bodyPr vert="horz" wrap="square"/>
        <a:lstStyle/>
        <a:p>
          <a:pPr eaLnBrk="1" fontAlgn="auto" latinLnBrk="0" hangingPunct="1">
            <a:lnSpc>
              <a:spcPct val="100000"/>
            </a:lnSpc>
            <a:spcBef>
              <a:spcPts val="600"/>
            </a:spcBef>
            <a:spcAft>
              <a:spcPts val="600"/>
            </a:spcAft>
          </a:pPr>
          <a:endParaRPr lang="zh-CN" altLang="en-US" sz="1400" dirty="0">
            <a:solidFill>
              <a:schemeClr val="tx1"/>
            </a:solidFill>
            <a:uFillTx/>
            <a:latin typeface="Calibri" panose="020F0502020204030204" pitchFamily="34" charset="0"/>
          </a:endParaRPr>
        </a:p>
      </dgm:t>
    </dgm:pt>
    <dgm:pt modelId="{D8EBA930-99FC-441D-961D-44A0698B142C}" type="parTrans" cxnId="{B0087AC9-C519-4976-9319-312C0A625967}">
      <dgm:prSet/>
      <dgm:spPr/>
      <dgm:t>
        <a:bodyPr/>
        <a:lstStyle/>
        <a:p>
          <a:endParaRPr lang="en-US"/>
        </a:p>
      </dgm:t>
    </dgm:pt>
    <dgm:pt modelId="{6B9FC2D0-3534-44EC-B1F5-F060DD1A5022}" type="sibTrans" cxnId="{B0087AC9-C519-4976-9319-312C0A625967}">
      <dgm:prSet/>
      <dgm:spPr/>
      <dgm:t>
        <a:bodyPr/>
        <a:lstStyle/>
        <a:p>
          <a:endParaRPr lang="en-US"/>
        </a:p>
      </dgm:t>
    </dgm:pt>
    <dgm:pt modelId="{61F0DC84-7FFF-4FDD-9B5D-40960093AE83}">
      <dgm:prSet phldrT="[文本]" phldr="0" custT="1"/>
      <dgm:spPr/>
      <dgm:t>
        <a:bodyPr vert="horz" wrap="square"/>
        <a:lstStyle/>
        <a:p>
          <a:pPr>
            <a:lnSpc>
              <a:spcPct val="100000"/>
            </a:lnSpc>
            <a:spcBef>
              <a:spcPct val="0"/>
            </a:spcBef>
            <a:spcAft>
              <a:spcPct val="35000"/>
            </a:spcAft>
          </a:pPr>
          <a:r>
            <a:rPr lang="en-US" altLang="zh-CN" sz="2400" b="1" dirty="0">
              <a:latin typeface="Calibri" panose="020F0502020204030204" pitchFamily="34" charset="0"/>
              <a:cs typeface="Calibri" panose="020F0502020204030204" pitchFamily="34" charset="0"/>
            </a:rPr>
            <a:t>Management &amp; Employee Interviews</a:t>
          </a:r>
          <a:endParaRPr lang="zh-CN" altLang="en-US" sz="2400" b="1" dirty="0">
            <a:latin typeface="Calibri" panose="020F0502020204030204" pitchFamily="34" charset="0"/>
            <a:cs typeface="Calibri" panose="020F0502020204030204" pitchFamily="34" charset="0"/>
          </a:endParaRPr>
        </a:p>
      </dgm:t>
    </dgm:pt>
    <dgm:pt modelId="{2CB3CEFC-83E6-4DB9-B636-5287ACC11553}" type="parTrans" cxnId="{7992C578-2FC6-4A80-AC82-DC2ABD47ACB3}">
      <dgm:prSet/>
      <dgm:spPr/>
      <dgm:t>
        <a:bodyPr/>
        <a:lstStyle/>
        <a:p>
          <a:endParaRPr lang="zh-CN" altLang="en-US"/>
        </a:p>
      </dgm:t>
    </dgm:pt>
    <dgm:pt modelId="{1FAE29ED-22A2-40FA-904A-0706E8542FE7}" type="sibTrans" cxnId="{7992C578-2FC6-4A80-AC82-DC2ABD47ACB3}">
      <dgm:prSet/>
      <dgm:spPr/>
      <dgm:t>
        <a:bodyPr/>
        <a:lstStyle/>
        <a:p>
          <a:endParaRPr lang="zh-CN" altLang="en-US"/>
        </a:p>
      </dgm:t>
    </dgm:pt>
    <dgm:pt modelId="{2C0D9F89-7CE9-4195-96AC-FB27D6AA2EF6}">
      <dgm:prSet phldrT="[文本]" phldr="0" custT="1"/>
      <dgm:spPr/>
      <dgm:t>
        <a:bodyPr vert="horz" wrap="square"/>
        <a:lstStyle/>
        <a:p>
          <a:pPr eaLnBrk="1" fontAlgn="auto" latinLnBrk="0" hangingPunct="1">
            <a:lnSpc>
              <a:spcPct val="100000"/>
            </a:lnSpc>
            <a:spcBef>
              <a:spcPts val="600"/>
            </a:spcBef>
            <a:spcAft>
              <a:spcPts val="600"/>
            </a:spcAft>
          </a:pPr>
          <a:r>
            <a:rPr lang="en-US" altLang="en-US" sz="1400" dirty="0">
              <a:solidFill>
                <a:schemeClr val="tx1"/>
              </a:solidFill>
              <a:uFillTx/>
              <a:latin typeface="Calibri" panose="020F0502020204030204" pitchFamily="34" charset="0"/>
            </a:rPr>
            <a:t>The audit team should work through the relevant code requirement discussing each issue area in depth with the managers. </a:t>
          </a:r>
        </a:p>
      </dgm:t>
    </dgm:pt>
    <dgm:pt modelId="{24D9371C-2787-474E-A690-5A09190A9707}" type="parTrans" cxnId="{75C23160-6B32-4E68-AFD5-DA604601CD21}">
      <dgm:prSet/>
      <dgm:spPr/>
      <dgm:t>
        <a:bodyPr/>
        <a:lstStyle/>
        <a:p>
          <a:endParaRPr lang="zh-CN" altLang="en-US"/>
        </a:p>
      </dgm:t>
    </dgm:pt>
    <dgm:pt modelId="{39E6AF7E-E529-4319-B552-AB363EF4CE26}" type="sibTrans" cxnId="{75C23160-6B32-4E68-AFD5-DA604601CD21}">
      <dgm:prSet/>
      <dgm:spPr/>
      <dgm:t>
        <a:bodyPr/>
        <a:lstStyle/>
        <a:p>
          <a:endParaRPr lang="zh-CN" altLang="en-US"/>
        </a:p>
      </dgm:t>
    </dgm:pt>
    <dgm:pt modelId="{630B9CEB-4C29-4EE9-9FEC-C852FE817B67}">
      <dgm:prSet phldr="0" custT="1"/>
      <dgm:spPr/>
      <dgm:t>
        <a:bodyPr vert="horz" wrap="square"/>
        <a:lstStyle/>
        <a:p>
          <a:pPr eaLnBrk="1" fontAlgn="auto" latinLnBrk="0" hangingPunct="1">
            <a:lnSpc>
              <a:spcPct val="100000"/>
            </a:lnSpc>
            <a:spcBef>
              <a:spcPts val="600"/>
            </a:spcBef>
            <a:spcAft>
              <a:spcPts val="600"/>
            </a:spcAft>
          </a:pPr>
          <a:r>
            <a:rPr lang="en-US" altLang="zh-CN" sz="1400" dirty="0">
              <a:solidFill>
                <a:schemeClr val="tx1"/>
              </a:solidFill>
              <a:uFillTx/>
              <a:latin typeface="Calibri" panose="020F0502020204030204" pitchFamily="34" charset="0"/>
            </a:rPr>
            <a:t>E</a:t>
          </a:r>
          <a:r>
            <a:rPr lang="zh-CN" altLang="en-US" sz="1400" dirty="0">
              <a:solidFill>
                <a:schemeClr val="tx1"/>
              </a:solidFill>
              <a:uFillTx/>
              <a:latin typeface="Calibri" panose="020F0502020204030204" pitchFamily="34" charset="0"/>
            </a:rPr>
            <a:t>mployees selected by auditors with interviews held in private with records being taken</a:t>
          </a:r>
        </a:p>
      </dgm:t>
    </dgm:pt>
    <dgm:pt modelId="{3235575E-E361-436D-9D18-0EC16262FBF2}" type="parTrans" cxnId="{C9B7747D-A5FF-47A3-80D3-57268BCB0781}">
      <dgm:prSet/>
      <dgm:spPr/>
    </dgm:pt>
    <dgm:pt modelId="{A7E9300A-3BD9-419A-B07F-42225880106D}" type="sibTrans" cxnId="{C9B7747D-A5FF-47A3-80D3-57268BCB0781}">
      <dgm:prSet/>
      <dgm:spPr/>
    </dgm:pt>
    <dgm:pt modelId="{6386E357-84AB-4E9C-98AE-65FDA8D0CA0D}">
      <dgm:prSet/>
      <dgm:spPr/>
      <dgm:t>
        <a:bodyPr/>
        <a:lstStyle/>
        <a:p>
          <a:pPr eaLnBrk="1" fontAlgn="auto" latinLnBrk="0" hangingPunct="1">
            <a:lnSpc>
              <a:spcPct val="100000"/>
            </a:lnSpc>
            <a:spcBef>
              <a:spcPts val="600"/>
            </a:spcBef>
            <a:spcAft>
              <a:spcPts val="600"/>
            </a:spcAft>
          </a:pPr>
          <a:endParaRPr lang="zh-CN" altLang="en-US" sz="1400" dirty="0">
            <a:solidFill>
              <a:schemeClr val="tx1"/>
            </a:solidFill>
            <a:uFillTx/>
            <a:latin typeface="Calibri" panose="020F0502020204030204" pitchFamily="34" charset="0"/>
          </a:endParaRPr>
        </a:p>
      </dgm:t>
    </dgm:pt>
    <dgm:pt modelId="{1E6958AE-8129-4059-8FB4-FAF961EB3F5A}" type="parTrans" cxnId="{927CF4A4-D9EB-4040-BE92-0F6CAF57570E}">
      <dgm:prSet/>
      <dgm:spPr/>
    </dgm:pt>
    <dgm:pt modelId="{2040D704-A900-4611-A89A-A0C1B99F6953}" type="sibTrans" cxnId="{927CF4A4-D9EB-4040-BE92-0F6CAF57570E}">
      <dgm:prSet/>
      <dgm:spPr/>
    </dgm:pt>
    <dgm:pt modelId="{D5FB6A06-3991-4223-AD64-C4F7F6F4DF69}" type="pres">
      <dgm:prSet presAssocID="{468FBB7B-694A-47BF-865D-2F44C1051453}" presName="Name0" presStyleCnt="0">
        <dgm:presLayoutVars>
          <dgm:dir/>
          <dgm:animLvl val="lvl"/>
          <dgm:resizeHandles val="exact"/>
        </dgm:presLayoutVars>
      </dgm:prSet>
      <dgm:spPr/>
    </dgm:pt>
    <dgm:pt modelId="{5EB24CCF-928A-4018-A934-89F31F564A83}" type="pres">
      <dgm:prSet presAssocID="{BD5427FF-4EB1-4006-BF7F-42158E0C5129}" presName="composite" presStyleCnt="0"/>
      <dgm:spPr/>
    </dgm:pt>
    <dgm:pt modelId="{5D9704F8-5A95-419F-B794-1E2F82666BDB}" type="pres">
      <dgm:prSet presAssocID="{BD5427FF-4EB1-4006-BF7F-42158E0C5129}" presName="parTx" presStyleLbl="alignNode1" presStyleIdx="0" presStyleCnt="3">
        <dgm:presLayoutVars>
          <dgm:chMax val="0"/>
          <dgm:chPref val="0"/>
          <dgm:bulletEnabled val="1"/>
        </dgm:presLayoutVars>
      </dgm:prSet>
      <dgm:spPr/>
    </dgm:pt>
    <dgm:pt modelId="{C0A6D3D8-DBC2-45B6-8DEF-789A72552BB4}" type="pres">
      <dgm:prSet presAssocID="{BD5427FF-4EB1-4006-BF7F-42158E0C5129}" presName="desTx" presStyleLbl="alignAccFollowNode1" presStyleIdx="0" presStyleCnt="3">
        <dgm:presLayoutVars>
          <dgm:bulletEnabled val="1"/>
        </dgm:presLayoutVars>
      </dgm:prSet>
      <dgm:spPr/>
    </dgm:pt>
    <dgm:pt modelId="{C4F6D2AE-A2A5-43DC-B705-8E8ECE0E1613}" type="pres">
      <dgm:prSet presAssocID="{D47F9812-1256-4E44-A6BE-BEC559BE8FF3}" presName="space" presStyleCnt="0"/>
      <dgm:spPr/>
    </dgm:pt>
    <dgm:pt modelId="{C1832C44-4F6B-4ABA-88DC-7D5A80779E4B}" type="pres">
      <dgm:prSet presAssocID="{FE969E54-0D5D-4815-BDC4-3309E2F7325D}" presName="composite" presStyleCnt="0"/>
      <dgm:spPr/>
    </dgm:pt>
    <dgm:pt modelId="{3E0BA246-3456-471B-AD87-1436FD251DD8}" type="pres">
      <dgm:prSet presAssocID="{FE969E54-0D5D-4815-BDC4-3309E2F7325D}" presName="parTx" presStyleLbl="alignNode1" presStyleIdx="1" presStyleCnt="3">
        <dgm:presLayoutVars>
          <dgm:chMax val="0"/>
          <dgm:chPref val="0"/>
          <dgm:bulletEnabled val="1"/>
        </dgm:presLayoutVars>
      </dgm:prSet>
      <dgm:spPr/>
    </dgm:pt>
    <dgm:pt modelId="{33CF15AD-8A19-4E9A-9BED-239A79CAF737}" type="pres">
      <dgm:prSet presAssocID="{FE969E54-0D5D-4815-BDC4-3309E2F7325D}" presName="desTx" presStyleLbl="alignAccFollowNode1" presStyleIdx="1" presStyleCnt="3">
        <dgm:presLayoutVars>
          <dgm:bulletEnabled val="1"/>
        </dgm:presLayoutVars>
      </dgm:prSet>
      <dgm:spPr/>
    </dgm:pt>
    <dgm:pt modelId="{F4639A07-76C8-4329-80D5-712628979A9A}" type="pres">
      <dgm:prSet presAssocID="{D7D19B67-C01A-45D3-B5C7-B7E1B18A9F62}" presName="space" presStyleCnt="0"/>
      <dgm:spPr/>
    </dgm:pt>
    <dgm:pt modelId="{7F710124-E259-48A5-9895-471DE20AF50E}" type="pres">
      <dgm:prSet presAssocID="{61F0DC84-7FFF-4FDD-9B5D-40960093AE83}" presName="composite" presStyleCnt="0"/>
      <dgm:spPr/>
    </dgm:pt>
    <dgm:pt modelId="{FC453BFD-315B-4968-86FA-B7D3125F3320}" type="pres">
      <dgm:prSet presAssocID="{61F0DC84-7FFF-4FDD-9B5D-40960093AE83}" presName="parTx" presStyleLbl="alignNode1" presStyleIdx="2" presStyleCnt="3" custLinFactNeighborX="2215" custLinFactNeighborY="-3864">
        <dgm:presLayoutVars>
          <dgm:chMax val="0"/>
          <dgm:chPref val="0"/>
          <dgm:bulletEnabled val="1"/>
        </dgm:presLayoutVars>
      </dgm:prSet>
      <dgm:spPr/>
    </dgm:pt>
    <dgm:pt modelId="{B357C82A-FE93-416B-AFBF-A74F9E99C4E4}" type="pres">
      <dgm:prSet presAssocID="{61F0DC84-7FFF-4FDD-9B5D-40960093AE83}" presName="desTx" presStyleLbl="alignAccFollowNode1" presStyleIdx="2" presStyleCnt="3">
        <dgm:presLayoutVars>
          <dgm:bulletEnabled val="1"/>
        </dgm:presLayoutVars>
      </dgm:prSet>
      <dgm:spPr/>
    </dgm:pt>
  </dgm:ptLst>
  <dgm:cxnLst>
    <dgm:cxn modelId="{1EDCCA10-05C1-4670-8979-69FF2CA36992}" srcId="{FE969E54-0D5D-4815-BDC4-3309E2F7325D}" destId="{CAD66C55-F72B-417A-8EFD-4F7EE67184D7}" srcOrd="3" destOrd="0" parTransId="{63677592-3911-45A8-B4BE-A23725390C49}" sibTransId="{7A445020-68E8-46B0-AC68-B177CD984639}"/>
    <dgm:cxn modelId="{96AED417-B872-4CC7-915C-68DA728A6D2D}" srcId="{FE969E54-0D5D-4815-BDC4-3309E2F7325D}" destId="{4765D3A2-8477-40F0-A589-7F01355F6172}" srcOrd="1" destOrd="0" parTransId="{FC5CBD21-898D-4EE1-A991-494231287F01}" sibTransId="{8B28D9A7-3431-45DB-8762-D5A7B30830C5}"/>
    <dgm:cxn modelId="{265A3D1C-98D7-4F0B-ABC9-0D079B82D561}" srcId="{BD5427FF-4EB1-4006-BF7F-42158E0C5129}" destId="{BF812042-B049-426F-AD4B-F011F95F695D}" srcOrd="3" destOrd="0" parTransId="{61588F7C-2753-4457-BB91-E2B16FB498C7}" sibTransId="{C97FF390-FAF2-4CA6-B9B5-E33901315A05}"/>
    <dgm:cxn modelId="{1C0BF031-050D-4F89-92D7-71CADDDCCFBA}" srcId="{FE969E54-0D5D-4815-BDC4-3309E2F7325D}" destId="{1001C0D9-6AA5-44E1-9A58-66D64183637E}" srcOrd="2" destOrd="0" parTransId="{2E3E6A47-295B-4AAA-B9D5-92061F5C1B1C}" sibTransId="{DE0F502C-45EE-45F7-8BF6-C82B04959DEF}"/>
    <dgm:cxn modelId="{75C23160-6B32-4E68-AFD5-DA604601CD21}" srcId="{61F0DC84-7FFF-4FDD-9B5D-40960093AE83}" destId="{2C0D9F89-7CE9-4195-96AC-FB27D6AA2EF6}" srcOrd="0" destOrd="0" parTransId="{24D9371C-2787-474E-A690-5A09190A9707}" sibTransId="{39E6AF7E-E529-4319-B552-AB363EF4CE26}"/>
    <dgm:cxn modelId="{A127ED42-A9C5-44B4-AA08-43D2B1E230BD}" type="presOf" srcId="{BF812042-B049-426F-AD4B-F011F95F695D}" destId="{C0A6D3D8-DBC2-45B6-8DEF-789A72552BB4}" srcOrd="0" destOrd="3" presId="urn:microsoft.com/office/officeart/2005/8/layout/hList1"/>
    <dgm:cxn modelId="{3ED1E543-EF6B-497B-A9B5-BB1D8FE9B3BE}" srcId="{468FBB7B-694A-47BF-865D-2F44C1051453}" destId="{FE969E54-0D5D-4815-BDC4-3309E2F7325D}" srcOrd="1" destOrd="0" parTransId="{B5D9FB86-EEBE-488F-B7DE-B7CF5C9166C5}" sibTransId="{D7D19B67-C01A-45D3-B5C7-B7E1B18A9F62}"/>
    <dgm:cxn modelId="{D7C43265-49BA-44C4-9D4B-2417618FD6B8}" type="presOf" srcId="{CAD66C55-F72B-417A-8EFD-4F7EE67184D7}" destId="{33CF15AD-8A19-4E9A-9BED-239A79CAF737}" srcOrd="0" destOrd="3" presId="urn:microsoft.com/office/officeart/2005/8/layout/hList1"/>
    <dgm:cxn modelId="{B62FCF65-9901-40B2-A722-C439D930678D}" srcId="{BD5427FF-4EB1-4006-BF7F-42158E0C5129}" destId="{C1BA35B8-519A-4A29-998E-87DFE3A31091}" srcOrd="2" destOrd="0" parTransId="{861E91C7-FF8E-418A-ABC9-571BB990C361}" sibTransId="{897C0216-8C76-4954-A933-1723A46F5BBB}"/>
    <dgm:cxn modelId="{5797306B-F8EF-481F-BD63-FCAFC8AE628C}" type="presOf" srcId="{468FBB7B-694A-47BF-865D-2F44C1051453}" destId="{D5FB6A06-3991-4223-AD64-C4F7F6F4DF69}" srcOrd="0" destOrd="0" presId="urn:microsoft.com/office/officeart/2005/8/layout/hList1"/>
    <dgm:cxn modelId="{C5FADB56-CA0D-4052-B288-B76CA3315F88}" type="presOf" srcId="{91BA4479-F5D0-4A84-AC4F-1E638375C4C9}" destId="{C0A6D3D8-DBC2-45B6-8DEF-789A72552BB4}" srcOrd="0" destOrd="4" presId="urn:microsoft.com/office/officeart/2005/8/layout/hList1"/>
    <dgm:cxn modelId="{7992C578-2FC6-4A80-AC82-DC2ABD47ACB3}" srcId="{468FBB7B-694A-47BF-865D-2F44C1051453}" destId="{61F0DC84-7FFF-4FDD-9B5D-40960093AE83}" srcOrd="2" destOrd="0" parTransId="{2CB3CEFC-83E6-4DB9-B636-5287ACC11553}" sibTransId="{1FAE29ED-22A2-40FA-904A-0706E8542FE7}"/>
    <dgm:cxn modelId="{B3DA225A-95C1-4C4F-BF86-0F1A4389EC52}" type="presOf" srcId="{6386E357-84AB-4E9C-98AE-65FDA8D0CA0D}" destId="{B357C82A-FE93-416B-AFBF-A74F9E99C4E4}" srcOrd="0" destOrd="2" presId="urn:microsoft.com/office/officeart/2005/8/layout/hList1"/>
    <dgm:cxn modelId="{C9B7747D-A5FF-47A3-80D3-57268BCB0781}" srcId="{61F0DC84-7FFF-4FDD-9B5D-40960093AE83}" destId="{630B9CEB-4C29-4EE9-9FEC-C852FE817B67}" srcOrd="1" destOrd="0" parTransId="{3235575E-E361-436D-9D18-0EC16262FBF2}" sibTransId="{A7E9300A-3BD9-419A-B07F-42225880106D}"/>
    <dgm:cxn modelId="{DCEF9B7D-18E1-4F94-9A07-11ECD38F1E0E}" type="presOf" srcId="{2C0D9F89-7CE9-4195-96AC-FB27D6AA2EF6}" destId="{B357C82A-FE93-416B-AFBF-A74F9E99C4E4}" srcOrd="0" destOrd="0" presId="urn:microsoft.com/office/officeart/2005/8/layout/hList1"/>
    <dgm:cxn modelId="{73397B81-82C8-45BD-B447-68F89F5FADCC}" srcId="{BD5427FF-4EB1-4006-BF7F-42158E0C5129}" destId="{91BA4479-F5D0-4A84-AC4F-1E638375C4C9}" srcOrd="4" destOrd="0" parTransId="{F9B003BE-D868-48E5-983B-8ACE2859B638}" sibTransId="{8445C6B9-69EF-4D41-9014-6D4AB07D1F38}"/>
    <dgm:cxn modelId="{F7A06382-FA4E-49E7-8F29-CD9C58322289}" type="presOf" srcId="{4765D3A2-8477-40F0-A589-7F01355F6172}" destId="{33CF15AD-8A19-4E9A-9BED-239A79CAF737}" srcOrd="0" destOrd="1" presId="urn:microsoft.com/office/officeart/2005/8/layout/hList1"/>
    <dgm:cxn modelId="{DE08ED89-4693-4BBD-80CA-0D4B4E29FDDF}" type="presOf" srcId="{35600F67-42C2-4D1B-B072-DC2A36FCB136}" destId="{33CF15AD-8A19-4E9A-9BED-239A79CAF737}" srcOrd="0" destOrd="0" presId="urn:microsoft.com/office/officeart/2005/8/layout/hList1"/>
    <dgm:cxn modelId="{A5BC0C8D-1B73-4C2B-B84B-D1F183837BA0}" type="presOf" srcId="{FE969E54-0D5D-4815-BDC4-3309E2F7325D}" destId="{3E0BA246-3456-471B-AD87-1436FD251DD8}" srcOrd="0" destOrd="0" presId="urn:microsoft.com/office/officeart/2005/8/layout/hList1"/>
    <dgm:cxn modelId="{C852EA9A-17FD-4596-8612-835E95127DBF}" type="presOf" srcId="{BD5427FF-4EB1-4006-BF7F-42158E0C5129}" destId="{5D9704F8-5A95-419F-B794-1E2F82666BDB}" srcOrd="0" destOrd="0" presId="urn:microsoft.com/office/officeart/2005/8/layout/hList1"/>
    <dgm:cxn modelId="{927CF4A4-D9EB-4040-BE92-0F6CAF57570E}" srcId="{61F0DC84-7FFF-4FDD-9B5D-40960093AE83}" destId="{6386E357-84AB-4E9C-98AE-65FDA8D0CA0D}" srcOrd="2" destOrd="0" parTransId="{1E6958AE-8129-4059-8FB4-FAF961EB3F5A}" sibTransId="{2040D704-A900-4611-A89A-A0C1B99F6953}"/>
    <dgm:cxn modelId="{83EB42AE-3109-4B10-81D6-65AA1B68ADD2}" type="presOf" srcId="{C1BA35B8-519A-4A29-998E-87DFE3A31091}" destId="{C0A6D3D8-DBC2-45B6-8DEF-789A72552BB4}" srcOrd="0" destOrd="2" presId="urn:microsoft.com/office/officeart/2005/8/layout/hList1"/>
    <dgm:cxn modelId="{EFBBEFB7-DB38-44AB-A6D1-FB0429521242}" srcId="{BD5427FF-4EB1-4006-BF7F-42158E0C5129}" destId="{3A7B819B-DBE9-4610-B22A-5573EA6D532D}" srcOrd="0" destOrd="0" parTransId="{DC4BEA23-BF6E-42AD-9BF0-CFBDE86A80F1}" sibTransId="{0BF6ACD3-AE1A-4691-8CBE-DBE77AB8A685}"/>
    <dgm:cxn modelId="{3DB7FDC0-A2B1-4B14-9451-2CDDEF565247}" srcId="{468FBB7B-694A-47BF-865D-2F44C1051453}" destId="{BD5427FF-4EB1-4006-BF7F-42158E0C5129}" srcOrd="0" destOrd="0" parTransId="{A2F6D805-3B53-408A-A2A3-20BC3BF0D242}" sibTransId="{D47F9812-1256-4E44-A6BE-BEC559BE8FF3}"/>
    <dgm:cxn modelId="{7EFF1BC8-D683-4FF7-9735-AD493FC86679}" type="presOf" srcId="{61F0DC84-7FFF-4FDD-9B5D-40960093AE83}" destId="{FC453BFD-315B-4968-86FA-B7D3125F3320}" srcOrd="0" destOrd="0" presId="urn:microsoft.com/office/officeart/2005/8/layout/hList1"/>
    <dgm:cxn modelId="{B0087AC9-C519-4976-9319-312C0A625967}" srcId="{FE969E54-0D5D-4815-BDC4-3309E2F7325D}" destId="{2AD1EC59-D3C7-446D-852B-0845CACC0C09}" srcOrd="4" destOrd="0" parTransId="{D8EBA930-99FC-441D-961D-44A0698B142C}" sibTransId="{6B9FC2D0-3534-44EC-B1F5-F060DD1A5022}"/>
    <dgm:cxn modelId="{CA52B1D5-5A7B-4DC5-80C0-AD2C3626DC8D}" type="presOf" srcId="{2AD1EC59-D3C7-446D-852B-0845CACC0C09}" destId="{33CF15AD-8A19-4E9A-9BED-239A79CAF737}" srcOrd="0" destOrd="4" presId="urn:microsoft.com/office/officeart/2005/8/layout/hList1"/>
    <dgm:cxn modelId="{6BC72EDD-60C4-455F-A8EA-9AF866F25E1D}" srcId="{FE969E54-0D5D-4815-BDC4-3309E2F7325D}" destId="{35600F67-42C2-4D1B-B072-DC2A36FCB136}" srcOrd="0" destOrd="0" parTransId="{B4BC79E1-FDBA-43D1-A988-1BE8090EDA7A}" sibTransId="{AD46A0AA-C45A-46D2-89AF-28390F99F9D0}"/>
    <dgm:cxn modelId="{32D568DE-114F-4D29-A187-86E74EAE0FAE}" type="presOf" srcId="{F162B3F7-FA22-4E8A-825C-712B9A02B2C3}" destId="{C0A6D3D8-DBC2-45B6-8DEF-789A72552BB4}" srcOrd="0" destOrd="1" presId="urn:microsoft.com/office/officeart/2005/8/layout/hList1"/>
    <dgm:cxn modelId="{D3B606DF-F17B-41DD-BA70-29A94A4FB3DB}" srcId="{BD5427FF-4EB1-4006-BF7F-42158E0C5129}" destId="{F162B3F7-FA22-4E8A-825C-712B9A02B2C3}" srcOrd="1" destOrd="0" parTransId="{DF019F52-7537-486A-AEF5-898C6E05A2B3}" sibTransId="{0CB9D9B0-1221-4223-8A32-42A7C859AFF8}"/>
    <dgm:cxn modelId="{DC5032E9-9891-4ACC-A157-A19E37A73758}" type="presOf" srcId="{3A7B819B-DBE9-4610-B22A-5573EA6D532D}" destId="{C0A6D3D8-DBC2-45B6-8DEF-789A72552BB4}" srcOrd="0" destOrd="0" presId="urn:microsoft.com/office/officeart/2005/8/layout/hList1"/>
    <dgm:cxn modelId="{8F1038ED-A38E-499D-B3EC-2ABBB75E60D4}" type="presOf" srcId="{630B9CEB-4C29-4EE9-9FEC-C852FE817B67}" destId="{B357C82A-FE93-416B-AFBF-A74F9E99C4E4}" srcOrd="0" destOrd="1" presId="urn:microsoft.com/office/officeart/2005/8/layout/hList1"/>
    <dgm:cxn modelId="{C970B9FB-496D-481C-ACC7-D7FE5D008D20}" type="presOf" srcId="{1001C0D9-6AA5-44E1-9A58-66D64183637E}" destId="{33CF15AD-8A19-4E9A-9BED-239A79CAF737}" srcOrd="0" destOrd="2" presId="urn:microsoft.com/office/officeart/2005/8/layout/hList1"/>
    <dgm:cxn modelId="{05324F19-6B67-4B61-AD71-50D3B9A07A0C}" type="presParOf" srcId="{D5FB6A06-3991-4223-AD64-C4F7F6F4DF69}" destId="{5EB24CCF-928A-4018-A934-89F31F564A83}" srcOrd="0" destOrd="0" presId="urn:microsoft.com/office/officeart/2005/8/layout/hList1"/>
    <dgm:cxn modelId="{8DF01FBD-EE92-4349-99C0-D5ABD60BA233}" type="presParOf" srcId="{5EB24CCF-928A-4018-A934-89F31F564A83}" destId="{5D9704F8-5A95-419F-B794-1E2F82666BDB}" srcOrd="0" destOrd="0" presId="urn:microsoft.com/office/officeart/2005/8/layout/hList1"/>
    <dgm:cxn modelId="{0AF93D4B-7F83-4B5B-ADE6-49D23D5C55DA}" type="presParOf" srcId="{5EB24CCF-928A-4018-A934-89F31F564A83}" destId="{C0A6D3D8-DBC2-45B6-8DEF-789A72552BB4}" srcOrd="1" destOrd="0" presId="urn:microsoft.com/office/officeart/2005/8/layout/hList1"/>
    <dgm:cxn modelId="{68906CEA-A0E6-4C12-B5DC-E102524954CD}" type="presParOf" srcId="{D5FB6A06-3991-4223-AD64-C4F7F6F4DF69}" destId="{C4F6D2AE-A2A5-43DC-B705-8E8ECE0E1613}" srcOrd="1" destOrd="0" presId="urn:microsoft.com/office/officeart/2005/8/layout/hList1"/>
    <dgm:cxn modelId="{06809B2C-BA05-43A7-8689-F34BD4F23970}" type="presParOf" srcId="{D5FB6A06-3991-4223-AD64-C4F7F6F4DF69}" destId="{C1832C44-4F6B-4ABA-88DC-7D5A80779E4B}" srcOrd="2" destOrd="0" presId="urn:microsoft.com/office/officeart/2005/8/layout/hList1"/>
    <dgm:cxn modelId="{0E602CAD-893A-419D-9C30-D06BDD8D0B9A}" type="presParOf" srcId="{C1832C44-4F6B-4ABA-88DC-7D5A80779E4B}" destId="{3E0BA246-3456-471B-AD87-1436FD251DD8}" srcOrd="0" destOrd="0" presId="urn:microsoft.com/office/officeart/2005/8/layout/hList1"/>
    <dgm:cxn modelId="{92108D6A-C9F1-40A5-B288-2342787D4A68}" type="presParOf" srcId="{C1832C44-4F6B-4ABA-88DC-7D5A80779E4B}" destId="{33CF15AD-8A19-4E9A-9BED-239A79CAF737}" srcOrd="1" destOrd="0" presId="urn:microsoft.com/office/officeart/2005/8/layout/hList1"/>
    <dgm:cxn modelId="{48557AF6-BA27-45B5-93A2-137F52A99FB3}" type="presParOf" srcId="{D5FB6A06-3991-4223-AD64-C4F7F6F4DF69}" destId="{F4639A07-76C8-4329-80D5-712628979A9A}" srcOrd="3" destOrd="0" presId="urn:microsoft.com/office/officeart/2005/8/layout/hList1"/>
    <dgm:cxn modelId="{639B53A8-BE9D-4B0D-830B-1DF5BD4D6FE7}" type="presParOf" srcId="{D5FB6A06-3991-4223-AD64-C4F7F6F4DF69}" destId="{7F710124-E259-48A5-9895-471DE20AF50E}" srcOrd="4" destOrd="0" presId="urn:microsoft.com/office/officeart/2005/8/layout/hList1"/>
    <dgm:cxn modelId="{76D407FC-D277-4FDF-B5A8-140FAF448131}" type="presParOf" srcId="{7F710124-E259-48A5-9895-471DE20AF50E}" destId="{FC453BFD-315B-4968-86FA-B7D3125F3320}" srcOrd="0" destOrd="0" presId="urn:microsoft.com/office/officeart/2005/8/layout/hList1"/>
    <dgm:cxn modelId="{C897B7C4-1DC2-4874-8578-AA240AE87DA5}" type="presParOf" srcId="{7F710124-E259-48A5-9895-471DE20AF50E}" destId="{B357C82A-FE93-416B-AFBF-A74F9E99C4E4}"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68FBB7B-694A-47BF-865D-2F44C1051453}" type="doc">
      <dgm:prSet loTypeId="urn:microsoft.com/office/officeart/2005/8/layout/hList1" loCatId="list" qsTypeId="urn:microsoft.com/office/officeart/2005/8/quickstyle/simple1#1" qsCatId="simple" csTypeId="urn:microsoft.com/office/officeart/2005/8/colors/accent1_2#1" csCatId="accent1" phldr="1"/>
      <dgm:spPr/>
      <dgm:t>
        <a:bodyPr/>
        <a:lstStyle/>
        <a:p>
          <a:endParaRPr lang="zh-CN" altLang="en-US"/>
        </a:p>
      </dgm:t>
    </dgm:pt>
    <dgm:pt modelId="{BD5427FF-4EB1-4006-BF7F-42158E0C5129}">
      <dgm:prSet phldrT="[文本]" phldr="0" custT="1"/>
      <dgm:spPr/>
      <dgm:t>
        <a:bodyPr vert="horz" wrap="square"/>
        <a:lstStyle/>
        <a:p>
          <a:pPr>
            <a:lnSpc>
              <a:spcPct val="100000"/>
            </a:lnSpc>
            <a:spcBef>
              <a:spcPct val="0"/>
            </a:spcBef>
            <a:spcAft>
              <a:spcPct val="35000"/>
            </a:spcAft>
          </a:pPr>
          <a:r>
            <a:rPr lang="en-US" altLang="zh-CN" sz="2400" b="1" dirty="0">
              <a:solidFill>
                <a:schemeClr val="bg1"/>
              </a:solidFill>
              <a:uFillTx/>
              <a:latin typeface="Calibri" panose="020F0502020204030204" pitchFamily="34" charset="0"/>
              <a:sym typeface="+mn-ea"/>
            </a:rPr>
            <a:t>Documentation Review </a:t>
          </a:r>
          <a:endParaRPr sz="6500"/>
        </a:p>
      </dgm:t>
    </dgm:pt>
    <dgm:pt modelId="{A2F6D805-3B53-408A-A2A3-20BC3BF0D242}" type="parTrans" cxnId="{80F927A9-05C6-42C5-8079-C72C8B48A0D6}">
      <dgm:prSet/>
      <dgm:spPr/>
      <dgm:t>
        <a:bodyPr/>
        <a:lstStyle/>
        <a:p>
          <a:endParaRPr lang="zh-CN" altLang="en-US"/>
        </a:p>
      </dgm:t>
    </dgm:pt>
    <dgm:pt modelId="{D47F9812-1256-4E44-A6BE-BEC559BE8FF3}" type="sibTrans" cxnId="{80F927A9-05C6-42C5-8079-C72C8B48A0D6}">
      <dgm:prSet/>
      <dgm:spPr/>
      <dgm:t>
        <a:bodyPr/>
        <a:lstStyle/>
        <a:p>
          <a:endParaRPr lang="zh-CN" altLang="en-US"/>
        </a:p>
      </dgm:t>
    </dgm:pt>
    <dgm:pt modelId="{3A7B819B-DBE9-4610-B22A-5573EA6D532D}">
      <dgm:prSet phldrT="[文本]" phldr="0" custT="1"/>
      <dgm:spPr/>
      <dgm:t>
        <a:bodyPr vert="horz" wrap="square"/>
        <a:lstStyle/>
        <a:p>
          <a:pPr eaLnBrk="1" fontAlgn="auto" latinLnBrk="0" hangingPunct="1">
            <a:lnSpc>
              <a:spcPct val="100000"/>
            </a:lnSpc>
            <a:spcBef>
              <a:spcPts val="300"/>
            </a:spcBef>
            <a:spcAft>
              <a:spcPts val="300"/>
            </a:spcAft>
          </a:pPr>
          <a:r>
            <a:rPr lang="zh-CN" altLang="en-US" sz="1400" dirty="0">
              <a:solidFill>
                <a:schemeClr val="tx1"/>
              </a:solidFill>
              <a:uFillTx/>
              <a:latin typeface="Calibri" panose="020F0502020204030204" pitchFamily="34" charset="0"/>
            </a:rPr>
            <a:t>Company policies</a:t>
          </a:r>
        </a:p>
      </dgm:t>
    </dgm:pt>
    <dgm:pt modelId="{DC4BEA23-BF6E-42AD-9BF0-CFBDE86A80F1}" type="parTrans" cxnId="{933E0A75-6FF1-4C58-947B-4922AE3DA866}">
      <dgm:prSet/>
      <dgm:spPr/>
      <dgm:t>
        <a:bodyPr/>
        <a:lstStyle/>
        <a:p>
          <a:endParaRPr lang="zh-CN" altLang="en-US"/>
        </a:p>
      </dgm:t>
    </dgm:pt>
    <dgm:pt modelId="{0BF6ACD3-AE1A-4691-8CBE-DBE77AB8A685}" type="sibTrans" cxnId="{933E0A75-6FF1-4C58-947B-4922AE3DA866}">
      <dgm:prSet/>
      <dgm:spPr/>
      <dgm:t>
        <a:bodyPr/>
        <a:lstStyle/>
        <a:p>
          <a:endParaRPr lang="zh-CN" altLang="en-US"/>
        </a:p>
      </dgm:t>
    </dgm:pt>
    <dgm:pt modelId="{F5C0C637-D884-40EE-A85B-C27359B5E681}">
      <dgm:prSet phldr="0" custT="1"/>
      <dgm:spPr/>
      <dgm:t>
        <a:bodyPr vert="horz" wrap="square"/>
        <a:lstStyle/>
        <a:p>
          <a:pPr eaLnBrk="1" fontAlgn="auto" latinLnBrk="0" hangingPunct="1">
            <a:lnSpc>
              <a:spcPct val="100000"/>
            </a:lnSpc>
            <a:spcBef>
              <a:spcPts val="300"/>
            </a:spcBef>
            <a:spcAft>
              <a:spcPts val="300"/>
            </a:spcAft>
          </a:pPr>
          <a:r>
            <a:rPr lang="zh-CN" altLang="en-US" sz="1400" dirty="0">
              <a:solidFill>
                <a:schemeClr val="tx1"/>
              </a:solidFill>
              <a:uFillTx/>
              <a:latin typeface="Calibri" panose="020F0502020204030204" pitchFamily="34" charset="0"/>
            </a:rPr>
            <a:t>Environmental management plans</a:t>
          </a:r>
        </a:p>
      </dgm:t>
    </dgm:pt>
    <dgm:pt modelId="{2457E618-23F7-4F2E-AA07-92891F0A7E02}" type="parTrans" cxnId="{A4FC74EE-491B-4783-A7B3-FC7B18713234}">
      <dgm:prSet/>
      <dgm:spPr/>
    </dgm:pt>
    <dgm:pt modelId="{2E256439-70B7-4C56-99D9-0714F285085F}" type="sibTrans" cxnId="{A4FC74EE-491B-4783-A7B3-FC7B18713234}">
      <dgm:prSet/>
      <dgm:spPr/>
    </dgm:pt>
    <dgm:pt modelId="{D4790B65-694E-4A74-8883-47C0BD9765A8}">
      <dgm:prSet phldr="0" custT="1"/>
      <dgm:spPr/>
      <dgm:t>
        <a:bodyPr vert="horz" wrap="square"/>
        <a:lstStyle/>
        <a:p>
          <a:pPr eaLnBrk="1" fontAlgn="auto" latinLnBrk="0" hangingPunct="1">
            <a:lnSpc>
              <a:spcPct val="100000"/>
            </a:lnSpc>
            <a:spcBef>
              <a:spcPts val="300"/>
            </a:spcBef>
            <a:spcAft>
              <a:spcPts val="300"/>
            </a:spcAft>
          </a:pPr>
          <a:r>
            <a:rPr lang="zh-CN" altLang="en-US" sz="1400" dirty="0">
              <a:solidFill>
                <a:schemeClr val="tx1"/>
              </a:solidFill>
              <a:uFillTx/>
              <a:latin typeface="Calibri" panose="020F0502020204030204" pitchFamily="34" charset="0"/>
            </a:rPr>
            <a:t>Legal compliance documentation / permits / licenses</a:t>
          </a:r>
        </a:p>
      </dgm:t>
    </dgm:pt>
    <dgm:pt modelId="{95D4086C-CC8A-4DAD-AD35-7EDC3C921763}" type="parTrans" cxnId="{3C30E6E5-DF11-4EF8-BC90-A567CB40ADB5}">
      <dgm:prSet/>
      <dgm:spPr/>
    </dgm:pt>
    <dgm:pt modelId="{6BBB5C08-ED3C-4D71-99C6-05905699E539}" type="sibTrans" cxnId="{3C30E6E5-DF11-4EF8-BC90-A567CB40ADB5}">
      <dgm:prSet/>
      <dgm:spPr/>
    </dgm:pt>
    <dgm:pt modelId="{3CA4D7F9-CC82-4FD4-836D-F6CBAE21F78F}">
      <dgm:prSet phldr="0" custT="1"/>
      <dgm:spPr/>
      <dgm:t>
        <a:bodyPr vert="horz" wrap="square"/>
        <a:lstStyle/>
        <a:p>
          <a:pPr eaLnBrk="1" fontAlgn="auto" latinLnBrk="0" hangingPunct="1">
            <a:lnSpc>
              <a:spcPct val="100000"/>
            </a:lnSpc>
            <a:spcBef>
              <a:spcPts val="300"/>
            </a:spcBef>
            <a:spcAft>
              <a:spcPts val="300"/>
            </a:spcAft>
          </a:pPr>
          <a:r>
            <a:rPr lang="zh-CN" altLang="en-US" sz="1400" dirty="0">
              <a:solidFill>
                <a:schemeClr val="tx1"/>
              </a:solidFill>
              <a:uFillTx/>
              <a:latin typeface="Calibri" panose="020F0502020204030204" pitchFamily="34" charset="0"/>
            </a:rPr>
            <a:t>Training records</a:t>
          </a:r>
        </a:p>
      </dgm:t>
    </dgm:pt>
    <dgm:pt modelId="{CC63FA4D-D912-4036-B36E-CEE01DFC7550}" type="parTrans" cxnId="{1C2AF743-F64F-446B-9FB2-6596A893904B}">
      <dgm:prSet/>
      <dgm:spPr/>
    </dgm:pt>
    <dgm:pt modelId="{D5052540-2F0F-4D5A-AFB5-DD9905A63A1A}" type="sibTrans" cxnId="{1C2AF743-F64F-446B-9FB2-6596A893904B}">
      <dgm:prSet/>
      <dgm:spPr/>
    </dgm:pt>
    <dgm:pt modelId="{56F25CB4-4504-4CB0-A69C-216DED8FCBF8}">
      <dgm:prSet phldr="0" custT="1"/>
      <dgm:spPr/>
      <dgm:t>
        <a:bodyPr vert="horz" wrap="square"/>
        <a:lstStyle/>
        <a:p>
          <a:pPr eaLnBrk="1" fontAlgn="auto" latinLnBrk="0" hangingPunct="1">
            <a:lnSpc>
              <a:spcPct val="100000"/>
            </a:lnSpc>
            <a:spcBef>
              <a:spcPts val="300"/>
            </a:spcBef>
            <a:spcAft>
              <a:spcPts val="300"/>
            </a:spcAft>
          </a:pPr>
          <a:r>
            <a:rPr lang="zh-CN" altLang="en-US" sz="1400" dirty="0">
              <a:solidFill>
                <a:schemeClr val="tx1"/>
              </a:solidFill>
              <a:uFillTx/>
              <a:latin typeface="Calibri" panose="020F0502020204030204" pitchFamily="34" charset="0"/>
            </a:rPr>
            <a:t>Machinery inspection/service logs</a:t>
          </a:r>
        </a:p>
      </dgm:t>
    </dgm:pt>
    <dgm:pt modelId="{61F31A9A-69E6-465F-AE97-0CE853C41F31}" type="parTrans" cxnId="{6527F714-5799-43DF-8EA7-433D073F485F}">
      <dgm:prSet/>
      <dgm:spPr/>
    </dgm:pt>
    <dgm:pt modelId="{A57E3350-CEFE-470F-B619-E1E0BE52A536}" type="sibTrans" cxnId="{6527F714-5799-43DF-8EA7-433D073F485F}">
      <dgm:prSet/>
      <dgm:spPr/>
    </dgm:pt>
    <dgm:pt modelId="{14E59609-4222-4C81-B6DC-FC79DBBDF80D}">
      <dgm:prSet phldr="0" custT="1"/>
      <dgm:spPr/>
      <dgm:t>
        <a:bodyPr vert="horz" wrap="square"/>
        <a:lstStyle/>
        <a:p>
          <a:pPr eaLnBrk="1" fontAlgn="auto" latinLnBrk="0" hangingPunct="1">
            <a:lnSpc>
              <a:spcPct val="100000"/>
            </a:lnSpc>
            <a:spcBef>
              <a:spcPts val="300"/>
            </a:spcBef>
            <a:spcAft>
              <a:spcPts val="300"/>
            </a:spcAft>
          </a:pPr>
          <a:r>
            <a:rPr lang="zh-CN" altLang="en-US" sz="1400" dirty="0">
              <a:solidFill>
                <a:schemeClr val="tx1"/>
              </a:solidFill>
              <a:uFillTx/>
              <a:latin typeface="Calibri" panose="020F0502020204030204" pitchFamily="34" charset="0"/>
            </a:rPr>
            <a:t>Electricity and fuel records</a:t>
          </a:r>
        </a:p>
      </dgm:t>
    </dgm:pt>
    <dgm:pt modelId="{3F5E075D-F26B-4874-813A-A070BC0131D2}" type="parTrans" cxnId="{52F5526C-5D26-4D16-876D-78482139C2C4}">
      <dgm:prSet/>
      <dgm:spPr/>
    </dgm:pt>
    <dgm:pt modelId="{2B645926-4AA9-449E-8237-6DC8C00BFEEE}" type="sibTrans" cxnId="{52F5526C-5D26-4D16-876D-78482139C2C4}">
      <dgm:prSet/>
      <dgm:spPr/>
    </dgm:pt>
    <dgm:pt modelId="{58EBF64B-2F1F-4BF4-9EAE-25F760E0FAAF}">
      <dgm:prSet phldr="0" custT="1"/>
      <dgm:spPr/>
      <dgm:t>
        <a:bodyPr vert="horz" wrap="square"/>
        <a:lstStyle/>
        <a:p>
          <a:pPr eaLnBrk="1" fontAlgn="auto" latinLnBrk="0" hangingPunct="1">
            <a:lnSpc>
              <a:spcPct val="100000"/>
            </a:lnSpc>
            <a:spcBef>
              <a:spcPts val="300"/>
            </a:spcBef>
            <a:spcAft>
              <a:spcPts val="300"/>
            </a:spcAft>
          </a:pPr>
          <a:r>
            <a:rPr lang="zh-CN" altLang="en-US" sz="1400" dirty="0">
              <a:solidFill>
                <a:schemeClr val="tx1"/>
              </a:solidFill>
              <a:uFillTx/>
              <a:latin typeface="Calibri" panose="020F0502020204030204" pitchFamily="34" charset="0"/>
            </a:rPr>
            <a:t>Water/Waste record</a:t>
          </a:r>
        </a:p>
      </dgm:t>
    </dgm:pt>
    <dgm:pt modelId="{EE0236E5-A332-4D54-AEBD-B72FA9058729}" type="parTrans" cxnId="{B5F89CEE-225E-4221-B0E9-2872BDDB58BF}">
      <dgm:prSet/>
      <dgm:spPr/>
    </dgm:pt>
    <dgm:pt modelId="{113ECBBE-F857-441D-9A86-65222F391EE1}" type="sibTrans" cxnId="{B5F89CEE-225E-4221-B0E9-2872BDDB58BF}">
      <dgm:prSet/>
      <dgm:spPr/>
    </dgm:pt>
    <dgm:pt modelId="{7CD88CDF-E89A-4AEC-BB6B-D55760923BE9}">
      <dgm:prSet phldr="0" custT="1"/>
      <dgm:spPr/>
      <dgm:t>
        <a:bodyPr vert="horz" wrap="square"/>
        <a:lstStyle/>
        <a:p>
          <a:pPr eaLnBrk="1" fontAlgn="auto" latinLnBrk="0" hangingPunct="1">
            <a:lnSpc>
              <a:spcPct val="100000"/>
            </a:lnSpc>
            <a:spcBef>
              <a:spcPts val="300"/>
            </a:spcBef>
            <a:spcAft>
              <a:spcPts val="300"/>
            </a:spcAft>
          </a:pPr>
          <a:r>
            <a:rPr lang="zh-CN" altLang="en-US" sz="1400" dirty="0">
              <a:solidFill>
                <a:schemeClr val="tx1"/>
              </a:solidFill>
              <a:uFillTx/>
              <a:latin typeface="Calibri" panose="020F0502020204030204" pitchFamily="34" charset="0"/>
            </a:rPr>
            <a:t>Permit for any on-site waste management facility</a:t>
          </a:r>
        </a:p>
      </dgm:t>
    </dgm:pt>
    <dgm:pt modelId="{458A568F-A163-4152-97A9-7AAFDD108752}" type="parTrans" cxnId="{AE27A4D4-DB87-44A8-8A1C-916BB4822F90}">
      <dgm:prSet/>
      <dgm:spPr/>
    </dgm:pt>
    <dgm:pt modelId="{61F23949-68B6-445C-8622-1EEFDAE258D4}" type="sibTrans" cxnId="{AE27A4D4-DB87-44A8-8A1C-916BB4822F90}">
      <dgm:prSet/>
      <dgm:spPr/>
    </dgm:pt>
    <dgm:pt modelId="{FE969E54-0D5D-4815-BDC4-3309E2F7325D}">
      <dgm:prSet phldrT="[文本]" phldr="0" custT="1"/>
      <dgm:spPr/>
      <dgm:t>
        <a:bodyPr vert="horz" wrap="square"/>
        <a:lstStyle/>
        <a:p>
          <a:pPr>
            <a:lnSpc>
              <a:spcPct val="100000"/>
            </a:lnSpc>
            <a:spcBef>
              <a:spcPct val="0"/>
            </a:spcBef>
            <a:spcAft>
              <a:spcPct val="35000"/>
            </a:spcAft>
          </a:pPr>
          <a:r>
            <a:rPr lang="en-US" sz="2400" b="1" dirty="0">
              <a:solidFill>
                <a:schemeClr val="bg1"/>
              </a:solidFill>
              <a:uFillTx/>
              <a:latin typeface="Calibri" panose="020F0502020204030204" pitchFamily="34" charset="0"/>
              <a:sym typeface="+mn-ea"/>
            </a:rPr>
            <a:t>Pre‐Closing Meeting</a:t>
          </a:r>
        </a:p>
      </dgm:t>
    </dgm:pt>
    <dgm:pt modelId="{B5D9FB86-EEBE-488F-B7DE-B7CF5C9166C5}" type="parTrans" cxnId="{4B57955E-1888-4C11-B462-270F44A68487}">
      <dgm:prSet/>
      <dgm:spPr/>
      <dgm:t>
        <a:bodyPr/>
        <a:lstStyle/>
        <a:p>
          <a:endParaRPr lang="zh-CN" altLang="en-US"/>
        </a:p>
      </dgm:t>
    </dgm:pt>
    <dgm:pt modelId="{D7D19B67-C01A-45D3-B5C7-B7E1B18A9F62}" type="sibTrans" cxnId="{4B57955E-1888-4C11-B462-270F44A68487}">
      <dgm:prSet/>
      <dgm:spPr/>
      <dgm:t>
        <a:bodyPr/>
        <a:lstStyle/>
        <a:p>
          <a:endParaRPr lang="zh-CN" altLang="en-US"/>
        </a:p>
      </dgm:t>
    </dgm:pt>
    <dgm:pt modelId="{35600F67-42C2-4D1B-B072-DC2A36FCB136}">
      <dgm:prSet phldrT="[文本]" phldr="0" custT="1"/>
      <dgm:spPr/>
      <dgm:t>
        <a:bodyPr vert="horz" wrap="square"/>
        <a:lstStyle/>
        <a:p>
          <a:pPr eaLnBrk="1" fontAlgn="auto" latinLnBrk="0" hangingPunct="1">
            <a:lnSpc>
              <a:spcPct val="100000"/>
            </a:lnSpc>
            <a:spcBef>
              <a:spcPts val="600"/>
            </a:spcBef>
            <a:spcAft>
              <a:spcPts val="600"/>
            </a:spcAft>
          </a:pPr>
          <a:r>
            <a:rPr sz="1400" dirty="0">
              <a:solidFill>
                <a:schemeClr val="tx1"/>
              </a:solidFill>
              <a:uFillTx/>
              <a:latin typeface="Calibri" panose="020F0502020204030204" pitchFamily="34" charset="0"/>
            </a:rPr>
            <a:t>Non‐compliances found, including:  Status/severity (critical, major, minor) Recommended corrective actions</a:t>
          </a:r>
        </a:p>
      </dgm:t>
    </dgm:pt>
    <dgm:pt modelId="{B4BC79E1-FDBA-43D1-A988-1BE8090EDA7A}" type="parTrans" cxnId="{9DE04FF8-679A-45B4-A5E0-FFBE7CFC0340}">
      <dgm:prSet/>
      <dgm:spPr/>
      <dgm:t>
        <a:bodyPr/>
        <a:lstStyle/>
        <a:p>
          <a:endParaRPr lang="zh-CN" altLang="en-US"/>
        </a:p>
      </dgm:t>
    </dgm:pt>
    <dgm:pt modelId="{AD46A0AA-C45A-46D2-89AF-28390F99F9D0}" type="sibTrans" cxnId="{9DE04FF8-679A-45B4-A5E0-FFBE7CFC0340}">
      <dgm:prSet/>
      <dgm:spPr/>
      <dgm:t>
        <a:bodyPr/>
        <a:lstStyle/>
        <a:p>
          <a:endParaRPr lang="zh-CN" altLang="en-US"/>
        </a:p>
      </dgm:t>
    </dgm:pt>
    <dgm:pt modelId="{657F68B8-8875-4E51-A2BF-B495C9A64014}">
      <dgm:prSet phldr="0" custT="1"/>
      <dgm:spPr/>
      <dgm:t>
        <a:bodyPr vert="horz" wrap="square"/>
        <a:lstStyle/>
        <a:p>
          <a:pPr eaLnBrk="1" fontAlgn="auto" latinLnBrk="0" hangingPunct="1">
            <a:lnSpc>
              <a:spcPct val="100000"/>
            </a:lnSpc>
            <a:spcBef>
              <a:spcPts val="600"/>
            </a:spcBef>
            <a:spcAft>
              <a:spcPts val="600"/>
            </a:spcAft>
          </a:pPr>
          <a:r>
            <a:rPr sz="1400" dirty="0">
              <a:solidFill>
                <a:schemeClr val="tx1"/>
              </a:solidFill>
              <a:uFillTx/>
              <a:latin typeface="Calibri" panose="020F0502020204030204" pitchFamily="34" charset="0"/>
            </a:rPr>
            <a:t> Systematic problems and issues</a:t>
          </a:r>
        </a:p>
      </dgm:t>
    </dgm:pt>
    <dgm:pt modelId="{296573B7-CC3F-49F0-A3D0-B1C0A77EDD1E}" type="parTrans" cxnId="{AC653A01-E17B-426E-8233-78505E6517CE}">
      <dgm:prSet/>
      <dgm:spPr/>
    </dgm:pt>
    <dgm:pt modelId="{0FE9BB2F-9CF4-44DB-A802-45F9A63AC8BA}" type="sibTrans" cxnId="{AC653A01-E17B-426E-8233-78505E6517CE}">
      <dgm:prSet/>
      <dgm:spPr/>
    </dgm:pt>
    <dgm:pt modelId="{9BD7B327-701F-4E6C-84E3-6A89C88C6312}">
      <dgm:prSet phldr="0" custT="1"/>
      <dgm:spPr/>
      <dgm:t>
        <a:bodyPr vert="horz" wrap="square"/>
        <a:lstStyle/>
        <a:p>
          <a:pPr eaLnBrk="1" fontAlgn="auto" latinLnBrk="0" hangingPunct="1">
            <a:lnSpc>
              <a:spcPct val="100000"/>
            </a:lnSpc>
            <a:spcBef>
              <a:spcPts val="600"/>
            </a:spcBef>
            <a:spcAft>
              <a:spcPts val="600"/>
            </a:spcAft>
          </a:pPr>
          <a:r>
            <a:rPr sz="1400" dirty="0">
              <a:solidFill>
                <a:schemeClr val="tx1"/>
              </a:solidFill>
              <a:uFillTx/>
              <a:latin typeface="Calibri" panose="020F0502020204030204" pitchFamily="34" charset="0"/>
            </a:rPr>
            <a:t>Good practice examples</a:t>
          </a:r>
        </a:p>
      </dgm:t>
    </dgm:pt>
    <dgm:pt modelId="{4DCF9664-F82D-4882-9FCB-3FDC6D86D811}" type="parTrans" cxnId="{58BF7ECF-0C9E-4754-A171-ACC4E978915A}">
      <dgm:prSet/>
      <dgm:spPr/>
    </dgm:pt>
    <dgm:pt modelId="{696247BE-9BE4-44BC-AC2F-2B1F940AB6FD}" type="sibTrans" cxnId="{58BF7ECF-0C9E-4754-A171-ACC4E978915A}">
      <dgm:prSet/>
      <dgm:spPr/>
    </dgm:pt>
    <dgm:pt modelId="{106C7D36-5135-4BB7-BFFD-B977A4DD5846}">
      <dgm:prSet phldr="0" custT="1"/>
      <dgm:spPr/>
      <dgm:t>
        <a:bodyPr vert="horz" wrap="square"/>
        <a:lstStyle/>
        <a:p>
          <a:pPr eaLnBrk="1" fontAlgn="auto" latinLnBrk="0" hangingPunct="1">
            <a:lnSpc>
              <a:spcPct val="100000"/>
            </a:lnSpc>
            <a:spcBef>
              <a:spcPts val="600"/>
            </a:spcBef>
            <a:spcAft>
              <a:spcPts val="600"/>
            </a:spcAft>
          </a:pPr>
          <a:r>
            <a:rPr sz="1400" dirty="0">
              <a:solidFill>
                <a:schemeClr val="tx1"/>
              </a:solidFill>
              <a:uFillTx/>
              <a:latin typeface="Calibri" panose="020F0502020204030204" pitchFamily="34" charset="0"/>
            </a:rPr>
            <a:t>Prioritization of issues</a:t>
          </a:r>
        </a:p>
      </dgm:t>
    </dgm:pt>
    <dgm:pt modelId="{D8C2EA2F-0A57-474B-AD33-1F3CB6720836}" type="parTrans" cxnId="{DD0B1A31-7A6A-4D87-9BEC-E7F34C923C50}">
      <dgm:prSet/>
      <dgm:spPr/>
    </dgm:pt>
    <dgm:pt modelId="{21F91AB3-2255-4645-B6E1-FC13C7AA3873}" type="sibTrans" cxnId="{DD0B1A31-7A6A-4D87-9BEC-E7F34C923C50}">
      <dgm:prSet/>
      <dgm:spPr/>
    </dgm:pt>
    <dgm:pt modelId="{BDBD8BDB-C2E2-43C3-86EF-11F99CC87B8E}">
      <dgm:prSet phldr="0" custT="1"/>
      <dgm:spPr/>
      <dgm:t>
        <a:bodyPr vert="horz" wrap="square"/>
        <a:lstStyle/>
        <a:p>
          <a:pPr eaLnBrk="1" fontAlgn="auto" latinLnBrk="0" hangingPunct="1">
            <a:lnSpc>
              <a:spcPct val="100000"/>
            </a:lnSpc>
            <a:spcBef>
              <a:spcPts val="600"/>
            </a:spcBef>
            <a:spcAft>
              <a:spcPts val="600"/>
            </a:spcAft>
          </a:pPr>
          <a:r>
            <a:rPr sz="1400" dirty="0">
              <a:solidFill>
                <a:schemeClr val="tx1"/>
              </a:solidFill>
              <a:uFillTx/>
              <a:latin typeface="Calibri" panose="020F0502020204030204" pitchFamily="34" charset="0"/>
            </a:rPr>
            <a:t>Any requests for additional information or evidence</a:t>
          </a:r>
        </a:p>
      </dgm:t>
    </dgm:pt>
    <dgm:pt modelId="{6E8B5E6E-08A6-49B4-810A-118160D764EF}" type="parTrans" cxnId="{0DD55D11-AD76-4068-8E77-5427EAD7D7EF}">
      <dgm:prSet/>
      <dgm:spPr/>
    </dgm:pt>
    <dgm:pt modelId="{5B0A3D9F-2F56-405E-846D-412D27359338}" type="sibTrans" cxnId="{0DD55D11-AD76-4068-8E77-5427EAD7D7EF}">
      <dgm:prSet/>
      <dgm:spPr/>
    </dgm:pt>
    <dgm:pt modelId="{2330125A-68A8-46CB-A5AD-CA1D6E74829A}">
      <dgm:prSet phldr="0" custT="1"/>
      <dgm:spPr/>
      <dgm:t>
        <a:bodyPr vert="horz" wrap="square"/>
        <a:lstStyle/>
        <a:p>
          <a:pPr eaLnBrk="1" fontAlgn="auto" latinLnBrk="0" hangingPunct="1">
            <a:lnSpc>
              <a:spcPct val="100000"/>
            </a:lnSpc>
            <a:spcBef>
              <a:spcPts val="600"/>
            </a:spcBef>
            <a:spcAft>
              <a:spcPts val="600"/>
            </a:spcAft>
          </a:pPr>
          <a:r>
            <a:rPr sz="1400" dirty="0">
              <a:solidFill>
                <a:schemeClr val="tx1"/>
              </a:solidFill>
              <a:uFillTx/>
              <a:latin typeface="Calibri" panose="020F0502020204030204" pitchFamily="34" charset="0"/>
            </a:rPr>
            <a:t>Prepare Corrective Action Plan(CAP)</a:t>
          </a:r>
        </a:p>
      </dgm:t>
    </dgm:pt>
    <dgm:pt modelId="{6AB30778-7DC3-4EFF-8C07-7DC61DBDBBD7}" type="parTrans" cxnId="{014F6D47-9DDF-47F9-A9A4-750EB3D0538D}">
      <dgm:prSet/>
      <dgm:spPr/>
    </dgm:pt>
    <dgm:pt modelId="{1D5AD5FD-0813-42F7-925B-3B4E78E5D9F0}" type="sibTrans" cxnId="{014F6D47-9DDF-47F9-A9A4-750EB3D0538D}">
      <dgm:prSet/>
      <dgm:spPr/>
    </dgm:pt>
    <dgm:pt modelId="{61F0DC84-7FFF-4FDD-9B5D-40960093AE83}">
      <dgm:prSet phldrT="[文本]" phldr="0" custT="1"/>
      <dgm:spPr/>
      <dgm:t>
        <a:bodyPr vert="horz" wrap="square"/>
        <a:lstStyle/>
        <a:p>
          <a:pPr>
            <a:lnSpc>
              <a:spcPct val="100000"/>
            </a:lnSpc>
            <a:spcBef>
              <a:spcPct val="0"/>
            </a:spcBef>
            <a:spcAft>
              <a:spcPct val="35000"/>
            </a:spcAft>
          </a:pPr>
          <a:r>
            <a:rPr lang="en-US" altLang="zh-CN" sz="2400" b="1" dirty="0">
              <a:latin typeface="Calibri" panose="020F0502020204030204" pitchFamily="34" charset="0"/>
              <a:cs typeface="Calibri" panose="020F0502020204030204" pitchFamily="34" charset="0"/>
            </a:rPr>
            <a:t>Management &amp; Employee Interviews</a:t>
          </a:r>
          <a:endParaRPr lang="zh-CN" altLang="en-US" sz="2400" b="1" dirty="0">
            <a:latin typeface="Calibri" panose="020F0502020204030204" pitchFamily="34" charset="0"/>
            <a:cs typeface="Calibri" panose="020F0502020204030204" pitchFamily="34" charset="0"/>
          </a:endParaRPr>
        </a:p>
      </dgm:t>
    </dgm:pt>
    <dgm:pt modelId="{2CB3CEFC-83E6-4DB9-B636-5287ACC11553}" type="parTrans" cxnId="{5903888B-DD4F-48FC-99B9-AB20DBA04134}">
      <dgm:prSet/>
      <dgm:spPr/>
      <dgm:t>
        <a:bodyPr/>
        <a:lstStyle/>
        <a:p>
          <a:endParaRPr lang="zh-CN" altLang="en-US"/>
        </a:p>
      </dgm:t>
    </dgm:pt>
    <dgm:pt modelId="{1FAE29ED-22A2-40FA-904A-0706E8542FE7}" type="sibTrans" cxnId="{5903888B-DD4F-48FC-99B9-AB20DBA04134}">
      <dgm:prSet/>
      <dgm:spPr/>
      <dgm:t>
        <a:bodyPr/>
        <a:lstStyle/>
        <a:p>
          <a:endParaRPr lang="zh-CN" altLang="en-US"/>
        </a:p>
      </dgm:t>
    </dgm:pt>
    <dgm:pt modelId="{2C0D9F89-7CE9-4195-96AC-FB27D6AA2EF6}">
      <dgm:prSet phldrT="[文本]" phldr="0" custT="1"/>
      <dgm:spPr/>
      <dgm:t>
        <a:bodyPr vert="horz" wrap="square"/>
        <a:lstStyle/>
        <a:p>
          <a:pPr eaLnBrk="1" fontAlgn="auto" latinLnBrk="0" hangingPunct="1">
            <a:lnSpc>
              <a:spcPct val="100000"/>
            </a:lnSpc>
            <a:spcBef>
              <a:spcPts val="600"/>
            </a:spcBef>
            <a:spcAft>
              <a:spcPts val="600"/>
            </a:spcAft>
          </a:pPr>
          <a:r>
            <a:rPr lang="en-US" sz="1400" dirty="0">
              <a:solidFill>
                <a:schemeClr val="tx1"/>
              </a:solidFill>
              <a:uFillTx/>
              <a:latin typeface="Calibri" panose="020F0502020204030204" pitchFamily="34" charset="0"/>
              <a:sym typeface="+mn-ea"/>
            </a:rPr>
            <a:t>Reconfirm the purpose of the audit.</a:t>
          </a:r>
          <a:endParaRPr lang="zh-CN" altLang="en-US" sz="1400" dirty="0">
            <a:solidFill>
              <a:schemeClr val="tx1"/>
            </a:solidFill>
            <a:uFillTx/>
            <a:latin typeface="Calibri" panose="020F0502020204030204" pitchFamily="34" charset="0"/>
          </a:endParaRPr>
        </a:p>
      </dgm:t>
    </dgm:pt>
    <dgm:pt modelId="{24D9371C-2787-474E-A690-5A09190A9707}" type="parTrans" cxnId="{20BA1175-8FFC-42D7-BA8B-18A2D1D7837D}">
      <dgm:prSet/>
      <dgm:spPr/>
      <dgm:t>
        <a:bodyPr/>
        <a:lstStyle/>
        <a:p>
          <a:endParaRPr lang="zh-CN" altLang="en-US"/>
        </a:p>
      </dgm:t>
    </dgm:pt>
    <dgm:pt modelId="{39E6AF7E-E529-4319-B552-AB363EF4CE26}" type="sibTrans" cxnId="{20BA1175-8FFC-42D7-BA8B-18A2D1D7837D}">
      <dgm:prSet/>
      <dgm:spPr/>
      <dgm:t>
        <a:bodyPr/>
        <a:lstStyle/>
        <a:p>
          <a:endParaRPr lang="zh-CN" altLang="en-US"/>
        </a:p>
      </dgm:t>
    </dgm:pt>
    <dgm:pt modelId="{E966A1E6-05CE-4941-A4E5-6E126A383B2D}">
      <dgm:prSet phldr="0" custT="1"/>
      <dgm:spPr/>
      <dgm:t>
        <a:bodyPr vert="horz" wrap="square"/>
        <a:lstStyle/>
        <a:p>
          <a:pPr eaLnBrk="1" fontAlgn="auto" latinLnBrk="0" hangingPunct="1">
            <a:lnSpc>
              <a:spcPct val="100000"/>
            </a:lnSpc>
            <a:spcBef>
              <a:spcPts val="600"/>
            </a:spcBef>
            <a:spcAft>
              <a:spcPts val="600"/>
            </a:spcAft>
          </a:pPr>
          <a:r>
            <a:rPr lang="en-US" sz="1400" dirty="0">
              <a:solidFill>
                <a:schemeClr val="tx1"/>
              </a:solidFill>
              <a:uFillTx/>
              <a:latin typeface="Calibri" panose="020F0502020204030204" pitchFamily="34" charset="0"/>
              <a:sym typeface="+mn-ea"/>
            </a:rPr>
            <a:t>Recognize good practices.</a:t>
          </a:r>
          <a:endParaRPr lang="en-US" sz="1400" dirty="0">
            <a:solidFill>
              <a:schemeClr val="tx1"/>
            </a:solidFill>
            <a:uFillTx/>
            <a:latin typeface="Calibri" panose="020F0502020204030204" pitchFamily="34" charset="0"/>
          </a:endParaRPr>
        </a:p>
      </dgm:t>
    </dgm:pt>
    <dgm:pt modelId="{1B82B3FB-D893-4DEB-BCD1-6111B20A50C2}" type="parTrans" cxnId="{EBAE717E-CA7D-45FD-AAFA-8BF145278C60}">
      <dgm:prSet/>
      <dgm:spPr/>
    </dgm:pt>
    <dgm:pt modelId="{30CCCB93-599E-4EB2-A0BA-96D957B19098}" type="sibTrans" cxnId="{EBAE717E-CA7D-45FD-AAFA-8BF145278C60}">
      <dgm:prSet/>
      <dgm:spPr/>
    </dgm:pt>
    <dgm:pt modelId="{51ED7563-1A88-4847-B9EC-5A8F095AB868}">
      <dgm:prSet phldr="0" custT="1"/>
      <dgm:spPr/>
      <dgm:t>
        <a:bodyPr vert="horz" wrap="square"/>
        <a:lstStyle/>
        <a:p>
          <a:pPr eaLnBrk="1" fontAlgn="auto" latinLnBrk="0" hangingPunct="1">
            <a:lnSpc>
              <a:spcPct val="100000"/>
            </a:lnSpc>
            <a:spcBef>
              <a:spcPts val="600"/>
            </a:spcBef>
            <a:spcAft>
              <a:spcPts val="600"/>
            </a:spcAft>
          </a:pPr>
          <a:r>
            <a:rPr lang="en-US" sz="1400" dirty="0">
              <a:solidFill>
                <a:schemeClr val="tx1"/>
              </a:solidFill>
              <a:uFillTx/>
              <a:latin typeface="Calibri" panose="020F0502020204030204" pitchFamily="34" charset="0"/>
              <a:sym typeface="+mn-ea"/>
            </a:rPr>
            <a:t>Agree on non‐compliances.</a:t>
          </a:r>
          <a:endParaRPr lang="en-US" sz="1400" dirty="0">
            <a:solidFill>
              <a:schemeClr val="tx1"/>
            </a:solidFill>
            <a:uFillTx/>
            <a:latin typeface="Calibri" panose="020F0502020204030204" pitchFamily="34" charset="0"/>
          </a:endParaRPr>
        </a:p>
      </dgm:t>
    </dgm:pt>
    <dgm:pt modelId="{CE8B79DF-FE1D-4B13-A9CD-DAECE8A3CC61}" type="parTrans" cxnId="{2A094EF3-9021-4F64-A83E-FC6672A37464}">
      <dgm:prSet/>
      <dgm:spPr/>
    </dgm:pt>
    <dgm:pt modelId="{29C4BB29-3BE7-4E44-9B0F-6CCE957B5C8D}" type="sibTrans" cxnId="{2A094EF3-9021-4F64-A83E-FC6672A37464}">
      <dgm:prSet/>
      <dgm:spPr/>
    </dgm:pt>
    <dgm:pt modelId="{9AC7FDCF-5BD9-4A33-9867-AFFB47B80328}">
      <dgm:prSet phldr="0" custT="1"/>
      <dgm:spPr/>
      <dgm:t>
        <a:bodyPr vert="horz" wrap="square"/>
        <a:lstStyle/>
        <a:p>
          <a:pPr eaLnBrk="1" fontAlgn="auto" latinLnBrk="0" hangingPunct="1">
            <a:lnSpc>
              <a:spcPct val="100000"/>
            </a:lnSpc>
            <a:spcBef>
              <a:spcPts val="600"/>
            </a:spcBef>
            <a:spcAft>
              <a:spcPts val="600"/>
            </a:spcAft>
          </a:pPr>
          <a:r>
            <a:rPr lang="en-US" sz="1400" dirty="0">
              <a:solidFill>
                <a:schemeClr val="tx1"/>
              </a:solidFill>
              <a:uFillTx/>
              <a:latin typeface="Calibri" panose="020F0502020204030204" pitchFamily="34" charset="0"/>
              <a:sym typeface="+mn-ea"/>
            </a:rPr>
            <a:t>Suggest corrective actions, timing, and responsibility.</a:t>
          </a:r>
          <a:endParaRPr lang="en-US" sz="1400" dirty="0">
            <a:solidFill>
              <a:schemeClr val="tx1"/>
            </a:solidFill>
            <a:uFillTx/>
            <a:latin typeface="Calibri" panose="020F0502020204030204" pitchFamily="34" charset="0"/>
          </a:endParaRPr>
        </a:p>
      </dgm:t>
    </dgm:pt>
    <dgm:pt modelId="{4D515982-DFD6-46CF-8773-117F9D6543FB}" type="parTrans" cxnId="{C53F24D6-68C5-4286-9444-88399EAF66AC}">
      <dgm:prSet/>
      <dgm:spPr/>
    </dgm:pt>
    <dgm:pt modelId="{0DC292A9-231A-433E-B465-04E8BFDF6245}" type="sibTrans" cxnId="{C53F24D6-68C5-4286-9444-88399EAF66AC}">
      <dgm:prSet/>
      <dgm:spPr/>
    </dgm:pt>
    <dgm:pt modelId="{99ADE9BB-C407-4315-94F6-CB314E410845}">
      <dgm:prSet phldr="0" custT="1"/>
      <dgm:spPr/>
      <dgm:t>
        <a:bodyPr vert="horz" wrap="square"/>
        <a:lstStyle/>
        <a:p>
          <a:pPr eaLnBrk="1" fontAlgn="auto" latinLnBrk="0" hangingPunct="1">
            <a:lnSpc>
              <a:spcPct val="100000"/>
            </a:lnSpc>
            <a:spcBef>
              <a:spcPts val="600"/>
            </a:spcBef>
            <a:spcAft>
              <a:spcPts val="600"/>
            </a:spcAft>
          </a:pPr>
          <a:r>
            <a:rPr lang="en-US" sz="1400" dirty="0">
              <a:solidFill>
                <a:schemeClr val="tx1"/>
              </a:solidFill>
              <a:uFillTx/>
              <a:latin typeface="Calibri" panose="020F0502020204030204" pitchFamily="34" charset="0"/>
              <a:sym typeface="+mn-ea"/>
            </a:rPr>
            <a:t>Get sign‐off on the Summary of Findings and Corrective Actions by both auditor and employment site.</a:t>
          </a:r>
          <a:endParaRPr lang="zh-CN" altLang="en-US" sz="1400" dirty="0">
            <a:solidFill>
              <a:schemeClr val="tx1"/>
            </a:solidFill>
            <a:uFillTx/>
            <a:latin typeface="Calibri" panose="020F0502020204030204" pitchFamily="34" charset="0"/>
          </a:endParaRPr>
        </a:p>
      </dgm:t>
    </dgm:pt>
    <dgm:pt modelId="{DC71DE55-4C00-4374-9B60-69DC58528038}" type="parTrans" cxnId="{637622F4-E2FA-4DC8-906D-9B3686CF2DBF}">
      <dgm:prSet/>
      <dgm:spPr/>
    </dgm:pt>
    <dgm:pt modelId="{792E4D6E-FDB8-4EC6-ADF1-F5A7DA3D65B8}" type="sibTrans" cxnId="{637622F4-E2FA-4DC8-906D-9B3686CF2DBF}">
      <dgm:prSet/>
      <dgm:spPr/>
    </dgm:pt>
    <dgm:pt modelId="{D5FB6A06-3991-4223-AD64-C4F7F6F4DF69}" type="pres">
      <dgm:prSet presAssocID="{468FBB7B-694A-47BF-865D-2F44C1051453}" presName="Name0" presStyleCnt="0">
        <dgm:presLayoutVars>
          <dgm:dir/>
          <dgm:animLvl val="lvl"/>
          <dgm:resizeHandles val="exact"/>
        </dgm:presLayoutVars>
      </dgm:prSet>
      <dgm:spPr/>
    </dgm:pt>
    <dgm:pt modelId="{5EB24CCF-928A-4018-A934-89F31F564A83}" type="pres">
      <dgm:prSet presAssocID="{BD5427FF-4EB1-4006-BF7F-42158E0C5129}" presName="composite" presStyleCnt="0"/>
      <dgm:spPr/>
    </dgm:pt>
    <dgm:pt modelId="{5D9704F8-5A95-419F-B794-1E2F82666BDB}" type="pres">
      <dgm:prSet presAssocID="{BD5427FF-4EB1-4006-BF7F-42158E0C5129}" presName="parTx" presStyleLbl="alignNode1" presStyleIdx="0" presStyleCnt="3">
        <dgm:presLayoutVars>
          <dgm:chMax val="0"/>
          <dgm:chPref val="0"/>
          <dgm:bulletEnabled val="1"/>
        </dgm:presLayoutVars>
      </dgm:prSet>
      <dgm:spPr/>
    </dgm:pt>
    <dgm:pt modelId="{C0A6D3D8-DBC2-45B6-8DEF-789A72552BB4}" type="pres">
      <dgm:prSet presAssocID="{BD5427FF-4EB1-4006-BF7F-42158E0C5129}" presName="desTx" presStyleLbl="alignAccFollowNode1" presStyleIdx="0" presStyleCnt="3">
        <dgm:presLayoutVars>
          <dgm:bulletEnabled val="1"/>
        </dgm:presLayoutVars>
      </dgm:prSet>
      <dgm:spPr/>
    </dgm:pt>
    <dgm:pt modelId="{C4F6D2AE-A2A5-43DC-B705-8E8ECE0E1613}" type="pres">
      <dgm:prSet presAssocID="{D47F9812-1256-4E44-A6BE-BEC559BE8FF3}" presName="space" presStyleCnt="0"/>
      <dgm:spPr/>
    </dgm:pt>
    <dgm:pt modelId="{C1832C44-4F6B-4ABA-88DC-7D5A80779E4B}" type="pres">
      <dgm:prSet presAssocID="{FE969E54-0D5D-4815-BDC4-3309E2F7325D}" presName="composite" presStyleCnt="0"/>
      <dgm:spPr/>
    </dgm:pt>
    <dgm:pt modelId="{3E0BA246-3456-471B-AD87-1436FD251DD8}" type="pres">
      <dgm:prSet presAssocID="{FE969E54-0D5D-4815-BDC4-3309E2F7325D}" presName="parTx" presStyleLbl="alignNode1" presStyleIdx="1" presStyleCnt="3">
        <dgm:presLayoutVars>
          <dgm:chMax val="0"/>
          <dgm:chPref val="0"/>
          <dgm:bulletEnabled val="1"/>
        </dgm:presLayoutVars>
      </dgm:prSet>
      <dgm:spPr/>
    </dgm:pt>
    <dgm:pt modelId="{33CF15AD-8A19-4E9A-9BED-239A79CAF737}" type="pres">
      <dgm:prSet presAssocID="{FE969E54-0D5D-4815-BDC4-3309E2F7325D}" presName="desTx" presStyleLbl="alignAccFollowNode1" presStyleIdx="1" presStyleCnt="3">
        <dgm:presLayoutVars>
          <dgm:bulletEnabled val="1"/>
        </dgm:presLayoutVars>
      </dgm:prSet>
      <dgm:spPr/>
    </dgm:pt>
    <dgm:pt modelId="{F4639A07-76C8-4329-80D5-712628979A9A}" type="pres">
      <dgm:prSet presAssocID="{D7D19B67-C01A-45D3-B5C7-B7E1B18A9F62}" presName="space" presStyleCnt="0"/>
      <dgm:spPr/>
    </dgm:pt>
    <dgm:pt modelId="{7F710124-E259-48A5-9895-471DE20AF50E}" type="pres">
      <dgm:prSet presAssocID="{61F0DC84-7FFF-4FDD-9B5D-40960093AE83}" presName="composite" presStyleCnt="0"/>
      <dgm:spPr/>
    </dgm:pt>
    <dgm:pt modelId="{FC453BFD-315B-4968-86FA-B7D3125F3320}" type="pres">
      <dgm:prSet presAssocID="{61F0DC84-7FFF-4FDD-9B5D-40960093AE83}" presName="parTx" presStyleLbl="alignNode1" presStyleIdx="2" presStyleCnt="3" custLinFactNeighborX="2215" custLinFactNeighborY="-3864">
        <dgm:presLayoutVars>
          <dgm:chMax val="0"/>
          <dgm:chPref val="0"/>
          <dgm:bulletEnabled val="1"/>
        </dgm:presLayoutVars>
      </dgm:prSet>
      <dgm:spPr/>
    </dgm:pt>
    <dgm:pt modelId="{B357C82A-FE93-416B-AFBF-A74F9E99C4E4}" type="pres">
      <dgm:prSet presAssocID="{61F0DC84-7FFF-4FDD-9B5D-40960093AE83}" presName="desTx" presStyleLbl="alignAccFollowNode1" presStyleIdx="2" presStyleCnt="3">
        <dgm:presLayoutVars>
          <dgm:bulletEnabled val="1"/>
        </dgm:presLayoutVars>
      </dgm:prSet>
      <dgm:spPr/>
    </dgm:pt>
  </dgm:ptLst>
  <dgm:cxnLst>
    <dgm:cxn modelId="{AC653A01-E17B-426E-8233-78505E6517CE}" srcId="{FE969E54-0D5D-4815-BDC4-3309E2F7325D}" destId="{657F68B8-8875-4E51-A2BF-B495C9A64014}" srcOrd="1" destOrd="0" parTransId="{296573B7-CC3F-49F0-A3D0-B1C0A77EDD1E}" sibTransId="{0FE9BB2F-9CF4-44DB-A802-45F9A63AC8BA}"/>
    <dgm:cxn modelId="{C2B99F07-00A4-4331-AC23-91E92524FB16}" type="presOf" srcId="{2330125A-68A8-46CB-A5AD-CA1D6E74829A}" destId="{33CF15AD-8A19-4E9A-9BED-239A79CAF737}" srcOrd="0" destOrd="5" presId="urn:microsoft.com/office/officeart/2005/8/layout/hList1"/>
    <dgm:cxn modelId="{8F21B109-B525-459D-8494-424D9E3302DB}" type="presOf" srcId="{D4790B65-694E-4A74-8883-47C0BD9765A8}" destId="{C0A6D3D8-DBC2-45B6-8DEF-789A72552BB4}" srcOrd="0" destOrd="2" presId="urn:microsoft.com/office/officeart/2005/8/layout/hList1"/>
    <dgm:cxn modelId="{DE7E580A-48BA-4904-B005-25499A9CA340}" type="presOf" srcId="{106C7D36-5135-4BB7-BFFD-B977A4DD5846}" destId="{33CF15AD-8A19-4E9A-9BED-239A79CAF737}" srcOrd="0" destOrd="3" presId="urn:microsoft.com/office/officeart/2005/8/layout/hList1"/>
    <dgm:cxn modelId="{0DD55D11-AD76-4068-8E77-5427EAD7D7EF}" srcId="{FE969E54-0D5D-4815-BDC4-3309E2F7325D}" destId="{BDBD8BDB-C2E2-43C3-86EF-11F99CC87B8E}" srcOrd="4" destOrd="0" parTransId="{6E8B5E6E-08A6-49B4-810A-118160D764EF}" sibTransId="{5B0A3D9F-2F56-405E-846D-412D27359338}"/>
    <dgm:cxn modelId="{6527F714-5799-43DF-8EA7-433D073F485F}" srcId="{BD5427FF-4EB1-4006-BF7F-42158E0C5129}" destId="{56F25CB4-4504-4CB0-A69C-216DED8FCBF8}" srcOrd="4" destOrd="0" parTransId="{61F31A9A-69E6-465F-AE97-0CE853C41F31}" sibTransId="{A57E3350-CEFE-470F-B619-E1E0BE52A536}"/>
    <dgm:cxn modelId="{C60AA118-EB7E-4653-861B-A72E138EFB41}" type="presOf" srcId="{51ED7563-1A88-4847-B9EC-5A8F095AB868}" destId="{B357C82A-FE93-416B-AFBF-A74F9E99C4E4}" srcOrd="0" destOrd="2" presId="urn:microsoft.com/office/officeart/2005/8/layout/hList1"/>
    <dgm:cxn modelId="{DD0B1A31-7A6A-4D87-9BEC-E7F34C923C50}" srcId="{FE969E54-0D5D-4815-BDC4-3309E2F7325D}" destId="{106C7D36-5135-4BB7-BFFD-B977A4DD5846}" srcOrd="3" destOrd="0" parTransId="{D8C2EA2F-0A57-474B-AD33-1F3CB6720836}" sibTransId="{21F91AB3-2255-4645-B6E1-FC13C7AA3873}"/>
    <dgm:cxn modelId="{D3C43433-FD91-4FCD-B27F-F9387E87B7C5}" type="presOf" srcId="{F5C0C637-D884-40EE-A85B-C27359B5E681}" destId="{C0A6D3D8-DBC2-45B6-8DEF-789A72552BB4}" srcOrd="0" destOrd="1" presId="urn:microsoft.com/office/officeart/2005/8/layout/hList1"/>
    <dgm:cxn modelId="{4B57955E-1888-4C11-B462-270F44A68487}" srcId="{468FBB7B-694A-47BF-865D-2F44C1051453}" destId="{FE969E54-0D5D-4815-BDC4-3309E2F7325D}" srcOrd="1" destOrd="0" parTransId="{B5D9FB86-EEBE-488F-B7DE-B7CF5C9166C5}" sibTransId="{D7D19B67-C01A-45D3-B5C7-B7E1B18A9F62}"/>
    <dgm:cxn modelId="{CB084563-3644-4F71-BC63-644096699563}" type="presOf" srcId="{468FBB7B-694A-47BF-865D-2F44C1051453}" destId="{D5FB6A06-3991-4223-AD64-C4F7F6F4DF69}" srcOrd="0" destOrd="0" presId="urn:microsoft.com/office/officeart/2005/8/layout/hList1"/>
    <dgm:cxn modelId="{1C2AF743-F64F-446B-9FB2-6596A893904B}" srcId="{BD5427FF-4EB1-4006-BF7F-42158E0C5129}" destId="{3CA4D7F9-CC82-4FD4-836D-F6CBAE21F78F}" srcOrd="3" destOrd="0" parTransId="{CC63FA4D-D912-4036-B36E-CEE01DFC7550}" sibTransId="{D5052540-2F0F-4D5A-AFB5-DD9905A63A1A}"/>
    <dgm:cxn modelId="{D32BF666-640F-4810-9AB9-FE7ED005B977}" type="presOf" srcId="{7CD88CDF-E89A-4AEC-BB6B-D55760923BE9}" destId="{C0A6D3D8-DBC2-45B6-8DEF-789A72552BB4}" srcOrd="0" destOrd="7" presId="urn:microsoft.com/office/officeart/2005/8/layout/hList1"/>
    <dgm:cxn modelId="{014F6D47-9DDF-47F9-A9A4-750EB3D0538D}" srcId="{FE969E54-0D5D-4815-BDC4-3309E2F7325D}" destId="{2330125A-68A8-46CB-A5AD-CA1D6E74829A}" srcOrd="5" destOrd="0" parTransId="{6AB30778-7DC3-4EFF-8C07-7DC61DBDBBD7}" sibTransId="{1D5AD5FD-0813-42F7-925B-3B4E78E5D9F0}"/>
    <dgm:cxn modelId="{4E3F416B-1340-4D77-A3E4-983D41670A0D}" type="presOf" srcId="{99ADE9BB-C407-4315-94F6-CB314E410845}" destId="{B357C82A-FE93-416B-AFBF-A74F9E99C4E4}" srcOrd="0" destOrd="4" presId="urn:microsoft.com/office/officeart/2005/8/layout/hList1"/>
    <dgm:cxn modelId="{52F5526C-5D26-4D16-876D-78482139C2C4}" srcId="{BD5427FF-4EB1-4006-BF7F-42158E0C5129}" destId="{14E59609-4222-4C81-B6DC-FC79DBBDF80D}" srcOrd="5" destOrd="0" parTransId="{3F5E075D-F26B-4874-813A-A070BC0131D2}" sibTransId="{2B645926-4AA9-449E-8237-6DC8C00BFEEE}"/>
    <dgm:cxn modelId="{2AF0904D-5476-4326-99D9-EEAA06836BEC}" type="presOf" srcId="{BDBD8BDB-C2E2-43C3-86EF-11F99CC87B8E}" destId="{33CF15AD-8A19-4E9A-9BED-239A79CAF737}" srcOrd="0" destOrd="4" presId="urn:microsoft.com/office/officeart/2005/8/layout/hList1"/>
    <dgm:cxn modelId="{933E0A75-6FF1-4C58-947B-4922AE3DA866}" srcId="{BD5427FF-4EB1-4006-BF7F-42158E0C5129}" destId="{3A7B819B-DBE9-4610-B22A-5573EA6D532D}" srcOrd="0" destOrd="0" parTransId="{DC4BEA23-BF6E-42AD-9BF0-CFBDE86A80F1}" sibTransId="{0BF6ACD3-AE1A-4691-8CBE-DBE77AB8A685}"/>
    <dgm:cxn modelId="{20BA1175-8FFC-42D7-BA8B-18A2D1D7837D}" srcId="{61F0DC84-7FFF-4FDD-9B5D-40960093AE83}" destId="{2C0D9F89-7CE9-4195-96AC-FB27D6AA2EF6}" srcOrd="0" destOrd="0" parTransId="{24D9371C-2787-474E-A690-5A09190A9707}" sibTransId="{39E6AF7E-E529-4319-B552-AB363EF4CE26}"/>
    <dgm:cxn modelId="{2A207759-5577-4408-9155-DD342896AF06}" type="presOf" srcId="{E966A1E6-05CE-4941-A4E5-6E126A383B2D}" destId="{B357C82A-FE93-416B-AFBF-A74F9E99C4E4}" srcOrd="0" destOrd="1" presId="urn:microsoft.com/office/officeart/2005/8/layout/hList1"/>
    <dgm:cxn modelId="{EBAE717E-CA7D-45FD-AAFA-8BF145278C60}" srcId="{61F0DC84-7FFF-4FDD-9B5D-40960093AE83}" destId="{E966A1E6-05CE-4941-A4E5-6E126A383B2D}" srcOrd="1" destOrd="0" parTransId="{1B82B3FB-D893-4DEB-BCD1-6111B20A50C2}" sibTransId="{30CCCB93-599E-4EB2-A0BA-96D957B19098}"/>
    <dgm:cxn modelId="{5903888B-DD4F-48FC-99B9-AB20DBA04134}" srcId="{468FBB7B-694A-47BF-865D-2F44C1051453}" destId="{61F0DC84-7FFF-4FDD-9B5D-40960093AE83}" srcOrd="2" destOrd="0" parTransId="{2CB3CEFC-83E6-4DB9-B636-5287ACC11553}" sibTransId="{1FAE29ED-22A2-40FA-904A-0706E8542FE7}"/>
    <dgm:cxn modelId="{C99B359E-FC82-4539-A1DD-CD2FF65724A4}" type="presOf" srcId="{3CA4D7F9-CC82-4FD4-836D-F6CBAE21F78F}" destId="{C0A6D3D8-DBC2-45B6-8DEF-789A72552BB4}" srcOrd="0" destOrd="3" presId="urn:microsoft.com/office/officeart/2005/8/layout/hList1"/>
    <dgm:cxn modelId="{AC71E5A7-937D-489B-B13D-F5CD8B52A9B5}" type="presOf" srcId="{61F0DC84-7FFF-4FDD-9B5D-40960093AE83}" destId="{FC453BFD-315B-4968-86FA-B7D3125F3320}" srcOrd="0" destOrd="0" presId="urn:microsoft.com/office/officeart/2005/8/layout/hList1"/>
    <dgm:cxn modelId="{80F927A9-05C6-42C5-8079-C72C8B48A0D6}" srcId="{468FBB7B-694A-47BF-865D-2F44C1051453}" destId="{BD5427FF-4EB1-4006-BF7F-42158E0C5129}" srcOrd="0" destOrd="0" parTransId="{A2F6D805-3B53-408A-A2A3-20BC3BF0D242}" sibTransId="{D47F9812-1256-4E44-A6BE-BEC559BE8FF3}"/>
    <dgm:cxn modelId="{20CDE8AE-021D-406E-AB87-462671D12D0C}" type="presOf" srcId="{2C0D9F89-7CE9-4195-96AC-FB27D6AA2EF6}" destId="{B357C82A-FE93-416B-AFBF-A74F9E99C4E4}" srcOrd="0" destOrd="0" presId="urn:microsoft.com/office/officeart/2005/8/layout/hList1"/>
    <dgm:cxn modelId="{AC37EAB1-765C-4927-A0FA-75CFACA7F902}" type="presOf" srcId="{35600F67-42C2-4D1B-B072-DC2A36FCB136}" destId="{33CF15AD-8A19-4E9A-9BED-239A79CAF737}" srcOrd="0" destOrd="0" presId="urn:microsoft.com/office/officeart/2005/8/layout/hList1"/>
    <dgm:cxn modelId="{BDC5F4B1-9E5C-40E1-A75A-5DF7BF78C977}" type="presOf" srcId="{58EBF64B-2F1F-4BF4-9EAE-25F760E0FAAF}" destId="{C0A6D3D8-DBC2-45B6-8DEF-789A72552BB4}" srcOrd="0" destOrd="6" presId="urn:microsoft.com/office/officeart/2005/8/layout/hList1"/>
    <dgm:cxn modelId="{C8A349CC-30B1-4FD9-9F77-1E8BAF125202}" type="presOf" srcId="{BD5427FF-4EB1-4006-BF7F-42158E0C5129}" destId="{5D9704F8-5A95-419F-B794-1E2F82666BDB}" srcOrd="0" destOrd="0" presId="urn:microsoft.com/office/officeart/2005/8/layout/hList1"/>
    <dgm:cxn modelId="{B14AE2CD-B9D4-413F-AD0C-BA8E23C3219C}" type="presOf" srcId="{657F68B8-8875-4E51-A2BF-B495C9A64014}" destId="{33CF15AD-8A19-4E9A-9BED-239A79CAF737}" srcOrd="0" destOrd="1" presId="urn:microsoft.com/office/officeart/2005/8/layout/hList1"/>
    <dgm:cxn modelId="{58BF7ECF-0C9E-4754-A171-ACC4E978915A}" srcId="{FE969E54-0D5D-4815-BDC4-3309E2F7325D}" destId="{9BD7B327-701F-4E6C-84E3-6A89C88C6312}" srcOrd="2" destOrd="0" parTransId="{4DCF9664-F82D-4882-9FCB-3FDC6D86D811}" sibTransId="{696247BE-9BE4-44BC-AC2F-2B1F940AB6FD}"/>
    <dgm:cxn modelId="{AE27A4D4-DB87-44A8-8A1C-916BB4822F90}" srcId="{BD5427FF-4EB1-4006-BF7F-42158E0C5129}" destId="{7CD88CDF-E89A-4AEC-BB6B-D55760923BE9}" srcOrd="7" destOrd="0" parTransId="{458A568F-A163-4152-97A9-7AAFDD108752}" sibTransId="{61F23949-68B6-445C-8622-1EEFDAE258D4}"/>
    <dgm:cxn modelId="{C53F24D6-68C5-4286-9444-88399EAF66AC}" srcId="{61F0DC84-7FFF-4FDD-9B5D-40960093AE83}" destId="{9AC7FDCF-5BD9-4A33-9867-AFFB47B80328}" srcOrd="3" destOrd="0" parTransId="{4D515982-DFD6-46CF-8773-117F9D6543FB}" sibTransId="{0DC292A9-231A-433E-B465-04E8BFDF6245}"/>
    <dgm:cxn modelId="{91F6B0D6-D353-4E3E-8CB6-E16DBA0E8959}" type="presOf" srcId="{9BD7B327-701F-4E6C-84E3-6A89C88C6312}" destId="{33CF15AD-8A19-4E9A-9BED-239A79CAF737}" srcOrd="0" destOrd="2" presId="urn:microsoft.com/office/officeart/2005/8/layout/hList1"/>
    <dgm:cxn modelId="{3C30E6E5-DF11-4EF8-BC90-A567CB40ADB5}" srcId="{BD5427FF-4EB1-4006-BF7F-42158E0C5129}" destId="{D4790B65-694E-4A74-8883-47C0BD9765A8}" srcOrd="2" destOrd="0" parTransId="{95D4086C-CC8A-4DAD-AD35-7EDC3C921763}" sibTransId="{6BBB5C08-ED3C-4D71-99C6-05905699E539}"/>
    <dgm:cxn modelId="{A4FC74EE-491B-4783-A7B3-FC7B18713234}" srcId="{BD5427FF-4EB1-4006-BF7F-42158E0C5129}" destId="{F5C0C637-D884-40EE-A85B-C27359B5E681}" srcOrd="1" destOrd="0" parTransId="{2457E618-23F7-4F2E-AA07-92891F0A7E02}" sibTransId="{2E256439-70B7-4C56-99D9-0714F285085F}"/>
    <dgm:cxn modelId="{B5F89CEE-225E-4221-B0E9-2872BDDB58BF}" srcId="{BD5427FF-4EB1-4006-BF7F-42158E0C5129}" destId="{58EBF64B-2F1F-4BF4-9EAE-25F760E0FAAF}" srcOrd="6" destOrd="0" parTransId="{EE0236E5-A332-4D54-AEBD-B72FA9058729}" sibTransId="{113ECBBE-F857-441D-9A86-65222F391EE1}"/>
    <dgm:cxn modelId="{866CE2EE-8168-4FAE-9F1C-90412B5BB51B}" type="presOf" srcId="{14E59609-4222-4C81-B6DC-FC79DBBDF80D}" destId="{C0A6D3D8-DBC2-45B6-8DEF-789A72552BB4}" srcOrd="0" destOrd="5" presId="urn:microsoft.com/office/officeart/2005/8/layout/hList1"/>
    <dgm:cxn modelId="{A85DF4F0-14FC-42F8-99A1-DD8F570EF3F5}" type="presOf" srcId="{3A7B819B-DBE9-4610-B22A-5573EA6D532D}" destId="{C0A6D3D8-DBC2-45B6-8DEF-789A72552BB4}" srcOrd="0" destOrd="0" presId="urn:microsoft.com/office/officeart/2005/8/layout/hList1"/>
    <dgm:cxn modelId="{2A094EF3-9021-4F64-A83E-FC6672A37464}" srcId="{61F0DC84-7FFF-4FDD-9B5D-40960093AE83}" destId="{51ED7563-1A88-4847-B9EC-5A8F095AB868}" srcOrd="2" destOrd="0" parTransId="{CE8B79DF-FE1D-4B13-A9CD-DAECE8A3CC61}" sibTransId="{29C4BB29-3BE7-4E44-9B0F-6CCE957B5C8D}"/>
    <dgm:cxn modelId="{637622F4-E2FA-4DC8-906D-9B3686CF2DBF}" srcId="{61F0DC84-7FFF-4FDD-9B5D-40960093AE83}" destId="{99ADE9BB-C407-4315-94F6-CB314E410845}" srcOrd="4" destOrd="0" parTransId="{DC71DE55-4C00-4374-9B60-69DC58528038}" sibTransId="{792E4D6E-FDB8-4EC6-ADF1-F5A7DA3D65B8}"/>
    <dgm:cxn modelId="{799893F6-0776-4CE6-87D1-EF2F52AEE210}" type="presOf" srcId="{9AC7FDCF-5BD9-4A33-9867-AFFB47B80328}" destId="{B357C82A-FE93-416B-AFBF-A74F9E99C4E4}" srcOrd="0" destOrd="3" presId="urn:microsoft.com/office/officeart/2005/8/layout/hList1"/>
    <dgm:cxn modelId="{9DE04FF8-679A-45B4-A5E0-FFBE7CFC0340}" srcId="{FE969E54-0D5D-4815-BDC4-3309E2F7325D}" destId="{35600F67-42C2-4D1B-B072-DC2A36FCB136}" srcOrd="0" destOrd="0" parTransId="{B4BC79E1-FDBA-43D1-A988-1BE8090EDA7A}" sibTransId="{AD46A0AA-C45A-46D2-89AF-28390F99F9D0}"/>
    <dgm:cxn modelId="{1389EFF9-7C0D-4349-85AE-FC46C978F660}" type="presOf" srcId="{FE969E54-0D5D-4815-BDC4-3309E2F7325D}" destId="{3E0BA246-3456-471B-AD87-1436FD251DD8}" srcOrd="0" destOrd="0" presId="urn:microsoft.com/office/officeart/2005/8/layout/hList1"/>
    <dgm:cxn modelId="{C7BEB7FF-EFC7-4BFD-823B-7AE6AFAA9E7C}" type="presOf" srcId="{56F25CB4-4504-4CB0-A69C-216DED8FCBF8}" destId="{C0A6D3D8-DBC2-45B6-8DEF-789A72552BB4}" srcOrd="0" destOrd="4" presId="urn:microsoft.com/office/officeart/2005/8/layout/hList1"/>
    <dgm:cxn modelId="{86B7A7B2-41C9-49F7-8F53-A6DEE60D0391}" type="presParOf" srcId="{D5FB6A06-3991-4223-AD64-C4F7F6F4DF69}" destId="{5EB24CCF-928A-4018-A934-89F31F564A83}" srcOrd="0" destOrd="0" presId="urn:microsoft.com/office/officeart/2005/8/layout/hList1"/>
    <dgm:cxn modelId="{58F844C6-6165-47A5-8C3B-E499A4C5FC82}" type="presParOf" srcId="{5EB24CCF-928A-4018-A934-89F31F564A83}" destId="{5D9704F8-5A95-419F-B794-1E2F82666BDB}" srcOrd="0" destOrd="0" presId="urn:microsoft.com/office/officeart/2005/8/layout/hList1"/>
    <dgm:cxn modelId="{E12571DE-3B6B-4631-9C3A-DE3FBC6530C7}" type="presParOf" srcId="{5EB24CCF-928A-4018-A934-89F31F564A83}" destId="{C0A6D3D8-DBC2-45B6-8DEF-789A72552BB4}" srcOrd="1" destOrd="0" presId="urn:microsoft.com/office/officeart/2005/8/layout/hList1"/>
    <dgm:cxn modelId="{B15B3F60-050F-4F40-812A-305B26F672BD}" type="presParOf" srcId="{D5FB6A06-3991-4223-AD64-C4F7F6F4DF69}" destId="{C4F6D2AE-A2A5-43DC-B705-8E8ECE0E1613}" srcOrd="1" destOrd="0" presId="urn:microsoft.com/office/officeart/2005/8/layout/hList1"/>
    <dgm:cxn modelId="{0D4841A1-D199-4613-B506-8B79AF6B92A5}" type="presParOf" srcId="{D5FB6A06-3991-4223-AD64-C4F7F6F4DF69}" destId="{C1832C44-4F6B-4ABA-88DC-7D5A80779E4B}" srcOrd="2" destOrd="0" presId="urn:microsoft.com/office/officeart/2005/8/layout/hList1"/>
    <dgm:cxn modelId="{D8FD70F1-69E7-45CB-B6F8-3099F6E88385}" type="presParOf" srcId="{C1832C44-4F6B-4ABA-88DC-7D5A80779E4B}" destId="{3E0BA246-3456-471B-AD87-1436FD251DD8}" srcOrd="0" destOrd="0" presId="urn:microsoft.com/office/officeart/2005/8/layout/hList1"/>
    <dgm:cxn modelId="{F454F9B3-DCF2-4F9A-B8E9-69AD6C4040F3}" type="presParOf" srcId="{C1832C44-4F6B-4ABA-88DC-7D5A80779E4B}" destId="{33CF15AD-8A19-4E9A-9BED-239A79CAF737}" srcOrd="1" destOrd="0" presId="urn:microsoft.com/office/officeart/2005/8/layout/hList1"/>
    <dgm:cxn modelId="{5345BCE1-8632-4F2D-866E-26CFE2E547A6}" type="presParOf" srcId="{D5FB6A06-3991-4223-AD64-C4F7F6F4DF69}" destId="{F4639A07-76C8-4329-80D5-712628979A9A}" srcOrd="3" destOrd="0" presId="urn:microsoft.com/office/officeart/2005/8/layout/hList1"/>
    <dgm:cxn modelId="{57230E84-7F49-41A5-B9D2-C832293D3879}" type="presParOf" srcId="{D5FB6A06-3991-4223-AD64-C4F7F6F4DF69}" destId="{7F710124-E259-48A5-9895-471DE20AF50E}" srcOrd="4" destOrd="0" presId="urn:microsoft.com/office/officeart/2005/8/layout/hList1"/>
    <dgm:cxn modelId="{F77AA926-A37A-4CEA-AE40-F15296B70C51}" type="presParOf" srcId="{7F710124-E259-48A5-9895-471DE20AF50E}" destId="{FC453BFD-315B-4968-86FA-B7D3125F3320}" srcOrd="0" destOrd="0" presId="urn:microsoft.com/office/officeart/2005/8/layout/hList1"/>
    <dgm:cxn modelId="{0986313E-4262-4962-AB79-C6A835CD70E7}" type="presParOf" srcId="{7F710124-E259-48A5-9895-471DE20AF50E}" destId="{B357C82A-FE93-416B-AFBF-A74F9E99C4E4}"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DD83C9-46DE-4576-A4E0-90D142CC4F1B}">
      <dsp:nvSpPr>
        <dsp:cNvPr id="0" name=""/>
        <dsp:cNvSpPr/>
      </dsp:nvSpPr>
      <dsp:spPr bwMode="white">
        <a:xfrm>
          <a:off x="4882" y="1772502"/>
          <a:ext cx="2429453" cy="123986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100000"/>
            </a:lnSpc>
            <a:spcBef>
              <a:spcPct val="0"/>
            </a:spcBef>
            <a:spcAft>
              <a:spcPct val="35000"/>
            </a:spcAft>
            <a:buNone/>
          </a:pPr>
          <a:r>
            <a:rPr lang="en-US" sz="1800" kern="1200" dirty="0">
              <a:solidFill>
                <a:schemeClr val="bg1"/>
              </a:solidFill>
              <a:latin typeface="Calibri" panose="020F0502020204030204" pitchFamily="34" charset="0"/>
              <a:cs typeface="Calibri" panose="020F0502020204030204" pitchFamily="34" charset="0"/>
            </a:rPr>
            <a:t>Sustainability Audit is Necessary &amp; Audit Selection </a:t>
          </a:r>
        </a:p>
      </dsp:txBody>
      <dsp:txXfrm>
        <a:off x="41196" y="1808816"/>
        <a:ext cx="2356825" cy="1167236"/>
      </dsp:txXfrm>
    </dsp:sp>
    <dsp:sp modelId="{2B4227F5-D2B8-4FC7-AD32-3E6ECECDFA74}">
      <dsp:nvSpPr>
        <dsp:cNvPr id="0" name=""/>
        <dsp:cNvSpPr/>
      </dsp:nvSpPr>
      <dsp:spPr bwMode="white">
        <a:xfrm>
          <a:off x="2640980" y="2136195"/>
          <a:ext cx="438085" cy="512477"/>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zh-CN" altLang="en-US" sz="1800" kern="1200">
            <a:latin typeface="Calibri" panose="020F0502020204030204" pitchFamily="34" charset="0"/>
            <a:cs typeface="Calibri" panose="020F0502020204030204" pitchFamily="34" charset="0"/>
          </a:endParaRPr>
        </a:p>
      </dsp:txBody>
      <dsp:txXfrm>
        <a:off x="2640980" y="2238690"/>
        <a:ext cx="306660" cy="307487"/>
      </dsp:txXfrm>
    </dsp:sp>
    <dsp:sp modelId="{7AE43F2A-BC5C-4B15-80D1-5676B5B24515}">
      <dsp:nvSpPr>
        <dsp:cNvPr id="0" name=""/>
        <dsp:cNvSpPr/>
      </dsp:nvSpPr>
      <dsp:spPr bwMode="white">
        <a:xfrm>
          <a:off x="3260912" y="1772502"/>
          <a:ext cx="2066441" cy="1239864"/>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100000"/>
            </a:lnSpc>
            <a:spcBef>
              <a:spcPct val="0"/>
            </a:spcBef>
            <a:spcAft>
              <a:spcPct val="35000"/>
            </a:spcAft>
            <a:buNone/>
          </a:pPr>
          <a:r>
            <a:rPr lang="en-US" altLang="zh-CN" sz="1800" kern="1200" dirty="0">
              <a:solidFill>
                <a:schemeClr val="bg1"/>
              </a:solidFill>
              <a:latin typeface="Calibri" panose="020F0502020204030204" pitchFamily="34" charset="0"/>
              <a:cs typeface="Calibri" panose="020F0502020204030204" pitchFamily="34" charset="0"/>
            </a:rPr>
            <a:t>Audit</a:t>
          </a:r>
          <a:r>
            <a:rPr lang="en-US" altLang="zh-CN" sz="1800" kern="1200" baseline="0" dirty="0">
              <a:solidFill>
                <a:schemeClr val="bg1"/>
              </a:solidFill>
              <a:latin typeface="Calibri" panose="020F0502020204030204" pitchFamily="34" charset="0"/>
              <a:cs typeface="Calibri" panose="020F0502020204030204" pitchFamily="34" charset="0"/>
            </a:rPr>
            <a:t> Preparation </a:t>
          </a:r>
        </a:p>
      </dsp:txBody>
      <dsp:txXfrm>
        <a:off x="3297226" y="1808816"/>
        <a:ext cx="1993813" cy="1167236"/>
      </dsp:txXfrm>
    </dsp:sp>
    <dsp:sp modelId="{FFC7A454-9C33-44AB-BEF0-CF73344F777C}">
      <dsp:nvSpPr>
        <dsp:cNvPr id="0" name=""/>
        <dsp:cNvSpPr/>
      </dsp:nvSpPr>
      <dsp:spPr bwMode="white">
        <a:xfrm>
          <a:off x="5533997" y="2136195"/>
          <a:ext cx="438085" cy="512477"/>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zh-CN" altLang="en-US" sz="1800" kern="1200">
            <a:latin typeface="Calibri" panose="020F0502020204030204" pitchFamily="34" charset="0"/>
            <a:cs typeface="Calibri" panose="020F0502020204030204" pitchFamily="34" charset="0"/>
          </a:endParaRPr>
        </a:p>
      </dsp:txBody>
      <dsp:txXfrm>
        <a:off x="5533997" y="2238690"/>
        <a:ext cx="306660" cy="307487"/>
      </dsp:txXfrm>
    </dsp:sp>
    <dsp:sp modelId="{30492ABE-A24C-4E96-8263-3AA71590154A}">
      <dsp:nvSpPr>
        <dsp:cNvPr id="0" name=""/>
        <dsp:cNvSpPr/>
      </dsp:nvSpPr>
      <dsp:spPr bwMode="white">
        <a:xfrm>
          <a:off x="6153930" y="1772502"/>
          <a:ext cx="2263869" cy="1239864"/>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100000"/>
            </a:lnSpc>
            <a:spcBef>
              <a:spcPct val="0"/>
            </a:spcBef>
            <a:spcAft>
              <a:spcPct val="35000"/>
            </a:spcAft>
            <a:buNone/>
          </a:pPr>
          <a:r>
            <a:rPr lang="en-US" altLang="zh-CN" sz="1800" kern="1200" dirty="0">
              <a:solidFill>
                <a:schemeClr val="bg1"/>
              </a:solidFill>
              <a:latin typeface="Calibri" panose="020F0502020204030204" pitchFamily="34" charset="0"/>
              <a:cs typeface="Calibri" panose="020F0502020204030204" pitchFamily="34" charset="0"/>
            </a:rPr>
            <a:t>Audit </a:t>
          </a:r>
          <a:r>
            <a:rPr lang="en-US" altLang="zh-CN" sz="1800" kern="1200" dirty="0">
              <a:solidFill>
                <a:schemeClr val="bg1"/>
              </a:solidFill>
              <a:latin typeface="Calibri" panose="020F0502020204030204" pitchFamily="34" charset="0"/>
              <a:cs typeface="Calibri" panose="020F0502020204030204" pitchFamily="34" charset="0"/>
              <a:sym typeface="+mn-ea"/>
            </a:rPr>
            <a:t>Execution</a:t>
          </a:r>
          <a:r>
            <a:rPr lang="en-US" altLang="zh-CN" sz="1800" kern="1200" dirty="0">
              <a:solidFill>
                <a:schemeClr val="bg1"/>
              </a:solidFill>
              <a:latin typeface="Calibri" panose="020F0502020204030204" pitchFamily="34" charset="0"/>
              <a:cs typeface="Calibri" panose="020F0502020204030204" pitchFamily="34" charset="0"/>
            </a:rPr>
            <a:t> </a:t>
          </a:r>
        </a:p>
      </dsp:txBody>
      <dsp:txXfrm>
        <a:off x="6190244" y="1808816"/>
        <a:ext cx="2191241" cy="1167236"/>
      </dsp:txXfrm>
    </dsp:sp>
    <dsp:sp modelId="{A9585485-097E-47DE-A01F-CA34E179C36B}">
      <dsp:nvSpPr>
        <dsp:cNvPr id="0" name=""/>
        <dsp:cNvSpPr/>
      </dsp:nvSpPr>
      <dsp:spPr bwMode="white">
        <a:xfrm>
          <a:off x="8624443" y="2136195"/>
          <a:ext cx="438085" cy="512477"/>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zh-CN" altLang="en-US" sz="1800" kern="1200">
            <a:latin typeface="Calibri" panose="020F0502020204030204" pitchFamily="34" charset="0"/>
            <a:cs typeface="Calibri" panose="020F0502020204030204" pitchFamily="34" charset="0"/>
          </a:endParaRPr>
        </a:p>
      </dsp:txBody>
      <dsp:txXfrm>
        <a:off x="8624443" y="2238690"/>
        <a:ext cx="306660" cy="307487"/>
      </dsp:txXfrm>
    </dsp:sp>
    <dsp:sp modelId="{23477498-BFD0-425B-8D33-37E3B5CC0D94}">
      <dsp:nvSpPr>
        <dsp:cNvPr id="0" name=""/>
        <dsp:cNvSpPr/>
      </dsp:nvSpPr>
      <dsp:spPr bwMode="white">
        <a:xfrm>
          <a:off x="9244375" y="1772502"/>
          <a:ext cx="2066441" cy="1239864"/>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100000"/>
            </a:lnSpc>
            <a:spcBef>
              <a:spcPct val="0"/>
            </a:spcBef>
            <a:spcAft>
              <a:spcPct val="35000"/>
            </a:spcAft>
            <a:buNone/>
          </a:pPr>
          <a:r>
            <a:rPr lang="en-US" altLang="zh-CN" sz="1800" kern="1200" baseline="0" dirty="0">
              <a:solidFill>
                <a:schemeClr val="bg1"/>
              </a:solidFill>
              <a:latin typeface="Calibri" panose="020F0502020204030204" pitchFamily="34" charset="0"/>
              <a:cs typeface="Calibri" panose="020F0502020204030204" pitchFamily="34" charset="0"/>
            </a:rPr>
            <a:t>Audit Output &amp; Non-Conformance Resolution  </a:t>
          </a:r>
        </a:p>
      </dsp:txBody>
      <dsp:txXfrm>
        <a:off x="9280689" y="1808816"/>
        <a:ext cx="1993813" cy="11672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9704F8-5A95-419F-B794-1E2F82666BDB}">
      <dsp:nvSpPr>
        <dsp:cNvPr id="0" name=""/>
        <dsp:cNvSpPr/>
      </dsp:nvSpPr>
      <dsp:spPr bwMode="white">
        <a:xfrm>
          <a:off x="3164" y="601591"/>
          <a:ext cx="3085179" cy="123407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100000"/>
            </a:lnSpc>
            <a:spcBef>
              <a:spcPct val="0"/>
            </a:spcBef>
            <a:spcAft>
              <a:spcPct val="35000"/>
            </a:spcAft>
            <a:buNone/>
          </a:pPr>
          <a:r>
            <a:rPr lang="en-US" altLang="zh-CN" sz="2400" b="1" kern="1200" dirty="0">
              <a:solidFill>
                <a:schemeClr val="bg1"/>
              </a:solidFill>
              <a:uFillTx/>
              <a:latin typeface="Calibri" panose="020F0502020204030204" pitchFamily="34" charset="0"/>
            </a:rPr>
            <a:t>Opening Meeting</a:t>
          </a:r>
        </a:p>
      </dsp:txBody>
      <dsp:txXfrm>
        <a:off x="3164" y="601591"/>
        <a:ext cx="3085179" cy="1234071"/>
      </dsp:txXfrm>
    </dsp:sp>
    <dsp:sp modelId="{C0A6D3D8-DBC2-45B6-8DEF-789A72552BB4}">
      <dsp:nvSpPr>
        <dsp:cNvPr id="0" name=""/>
        <dsp:cNvSpPr/>
      </dsp:nvSpPr>
      <dsp:spPr bwMode="white">
        <a:xfrm>
          <a:off x="3164" y="1835663"/>
          <a:ext cx="3085179" cy="28548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eaLnBrk="1" fontAlgn="auto" latinLnBrk="0" hangingPunct="1">
            <a:lnSpc>
              <a:spcPct val="100000"/>
            </a:lnSpc>
            <a:spcBef>
              <a:spcPct val="0"/>
            </a:spcBef>
            <a:spcAft>
              <a:spcPts val="600"/>
            </a:spcAft>
            <a:buChar char="•"/>
          </a:pPr>
          <a:r>
            <a:rPr lang="zh-CN" altLang="en-US" sz="1400" kern="1200" dirty="0">
              <a:solidFill>
                <a:schemeClr val="tx1"/>
              </a:solidFill>
              <a:uFillTx/>
              <a:latin typeface="Calibri" panose="020F0502020204030204" pitchFamily="34" charset="0"/>
            </a:rPr>
            <a:t>Introduce the audit team</a:t>
          </a:r>
        </a:p>
        <a:p>
          <a:pPr marL="114300" lvl="1" indent="-114300" algn="l" defTabSz="622300" eaLnBrk="1" fontAlgn="auto" latinLnBrk="0" hangingPunct="1">
            <a:lnSpc>
              <a:spcPct val="100000"/>
            </a:lnSpc>
            <a:spcBef>
              <a:spcPct val="0"/>
            </a:spcBef>
            <a:spcAft>
              <a:spcPts val="600"/>
            </a:spcAft>
            <a:buChar char="•"/>
          </a:pPr>
          <a:r>
            <a:rPr lang="zh-CN" altLang="en-US" sz="1400" kern="1200" dirty="0">
              <a:solidFill>
                <a:schemeClr val="tx1"/>
              </a:solidFill>
              <a:uFillTx/>
              <a:latin typeface="Calibri" panose="020F0502020204030204" pitchFamily="34" charset="0"/>
            </a:rPr>
            <a:t>Explain the purpose and scope of the audit</a:t>
          </a:r>
        </a:p>
        <a:p>
          <a:pPr marL="114300" lvl="1" indent="-114300" algn="l" defTabSz="622300" eaLnBrk="1" fontAlgn="auto" latinLnBrk="0" hangingPunct="1">
            <a:lnSpc>
              <a:spcPct val="100000"/>
            </a:lnSpc>
            <a:spcBef>
              <a:spcPct val="0"/>
            </a:spcBef>
            <a:spcAft>
              <a:spcPts val="600"/>
            </a:spcAft>
            <a:buChar char="•"/>
          </a:pPr>
          <a:r>
            <a:rPr lang="zh-CN" altLang="en-US" sz="1400" kern="1200" dirty="0">
              <a:solidFill>
                <a:schemeClr val="tx1"/>
              </a:solidFill>
              <a:uFillTx/>
              <a:latin typeface="Calibri" panose="020F0502020204030204" pitchFamily="34" charset="0"/>
            </a:rPr>
            <a:t>Outline the audit process</a:t>
          </a:r>
        </a:p>
        <a:p>
          <a:pPr marL="114300" lvl="1" indent="-114300" algn="l" defTabSz="622300" eaLnBrk="1" fontAlgn="auto" latinLnBrk="0" hangingPunct="1">
            <a:lnSpc>
              <a:spcPct val="100000"/>
            </a:lnSpc>
            <a:spcBef>
              <a:spcPct val="0"/>
            </a:spcBef>
            <a:spcAft>
              <a:spcPts val="600"/>
            </a:spcAft>
            <a:buChar char="•"/>
          </a:pPr>
          <a:r>
            <a:rPr lang="zh-CN" altLang="en-US" sz="1400" kern="1200" dirty="0">
              <a:solidFill>
                <a:schemeClr val="tx1"/>
              </a:solidFill>
              <a:uFillTx/>
              <a:latin typeface="Calibri" panose="020F0502020204030204" pitchFamily="34" charset="0"/>
            </a:rPr>
            <a:t>Confirm any special arrangements </a:t>
          </a:r>
          <a:r>
            <a:rPr lang="en-US" altLang="zh-CN" sz="1400" kern="1200" dirty="0">
              <a:solidFill>
                <a:schemeClr val="tx1"/>
              </a:solidFill>
              <a:uFillTx/>
              <a:latin typeface="Calibri" panose="020F0502020204030204" pitchFamily="34" charset="0"/>
            </a:rPr>
            <a:t>required for the factory site tour </a:t>
          </a:r>
          <a:endParaRPr lang="zh-CN" altLang="en-US" sz="1400" kern="1200" dirty="0">
            <a:solidFill>
              <a:schemeClr val="tx1"/>
            </a:solidFill>
            <a:uFillTx/>
            <a:latin typeface="Calibri" panose="020F0502020204030204" pitchFamily="34" charset="0"/>
          </a:endParaRPr>
        </a:p>
        <a:p>
          <a:pPr marL="114300" lvl="1" indent="-114300" algn="l" defTabSz="622300" eaLnBrk="1" fontAlgn="auto" latinLnBrk="0" hangingPunct="1">
            <a:lnSpc>
              <a:spcPct val="100000"/>
            </a:lnSpc>
            <a:spcBef>
              <a:spcPct val="0"/>
            </a:spcBef>
            <a:spcAft>
              <a:spcPts val="600"/>
            </a:spcAft>
            <a:buChar char="•"/>
          </a:pPr>
          <a:r>
            <a:rPr lang="zh-CN" altLang="en-US" sz="1400" kern="1200" dirty="0">
              <a:solidFill>
                <a:schemeClr val="tx1"/>
              </a:solidFill>
              <a:uFillTx/>
              <a:latin typeface="Calibri" panose="020F0502020204030204" pitchFamily="34" charset="0"/>
            </a:rPr>
            <a:t> Provide an opportunity for questions and to address concerns</a:t>
          </a:r>
        </a:p>
      </dsp:txBody>
      <dsp:txXfrm>
        <a:off x="3164" y="1835663"/>
        <a:ext cx="3085179" cy="2854800"/>
      </dsp:txXfrm>
    </dsp:sp>
    <dsp:sp modelId="{3E0BA246-3456-471B-AD87-1436FD251DD8}">
      <dsp:nvSpPr>
        <dsp:cNvPr id="0" name=""/>
        <dsp:cNvSpPr/>
      </dsp:nvSpPr>
      <dsp:spPr bwMode="white">
        <a:xfrm>
          <a:off x="3520268" y="601591"/>
          <a:ext cx="3085179" cy="123407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100000"/>
            </a:lnSpc>
            <a:spcBef>
              <a:spcPct val="0"/>
            </a:spcBef>
            <a:spcAft>
              <a:spcPct val="35000"/>
            </a:spcAft>
            <a:buNone/>
          </a:pPr>
          <a:r>
            <a:rPr lang="en-US" altLang="zh-CN" sz="2400" b="1" kern="1200" dirty="0">
              <a:latin typeface="Calibri" panose="020F0502020204030204" pitchFamily="34" charset="0"/>
              <a:cs typeface="Calibri" panose="020F0502020204030204" pitchFamily="34" charset="0"/>
            </a:rPr>
            <a:t>Factory Site Tour</a:t>
          </a:r>
        </a:p>
      </dsp:txBody>
      <dsp:txXfrm>
        <a:off x="3520268" y="601591"/>
        <a:ext cx="3085179" cy="1234071"/>
      </dsp:txXfrm>
    </dsp:sp>
    <dsp:sp modelId="{33CF15AD-8A19-4E9A-9BED-239A79CAF737}">
      <dsp:nvSpPr>
        <dsp:cNvPr id="0" name=""/>
        <dsp:cNvSpPr/>
      </dsp:nvSpPr>
      <dsp:spPr bwMode="white">
        <a:xfrm>
          <a:off x="3520268" y="1835663"/>
          <a:ext cx="3085179" cy="28548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eaLnBrk="1" fontAlgn="auto" latinLnBrk="0" hangingPunct="1">
            <a:lnSpc>
              <a:spcPct val="100000"/>
            </a:lnSpc>
            <a:spcBef>
              <a:spcPct val="0"/>
            </a:spcBef>
            <a:spcAft>
              <a:spcPts val="600"/>
            </a:spcAft>
            <a:buChar char="•"/>
          </a:pPr>
          <a:r>
            <a:rPr lang="en-US" altLang="zh-CN" sz="1400" kern="1200" dirty="0">
              <a:solidFill>
                <a:schemeClr val="tx1"/>
              </a:solidFill>
              <a:uFillTx/>
              <a:latin typeface="Calibri" panose="020F0502020204030204" pitchFamily="34" charset="0"/>
            </a:rPr>
            <a:t>O</a:t>
          </a:r>
          <a:r>
            <a:rPr lang="zh-CN" altLang="en-US" sz="1400" kern="1200" dirty="0">
              <a:solidFill>
                <a:schemeClr val="tx1"/>
              </a:solidFill>
              <a:uFillTx/>
              <a:latin typeface="Calibri" panose="020F0502020204030204" pitchFamily="34" charset="0"/>
            </a:rPr>
            <a:t>bserve the physical conditions and current practices</a:t>
          </a:r>
        </a:p>
        <a:p>
          <a:pPr marL="114300" lvl="1" indent="-114300" algn="l" defTabSz="622300" eaLnBrk="1" fontAlgn="auto" latinLnBrk="0" hangingPunct="1">
            <a:lnSpc>
              <a:spcPct val="100000"/>
            </a:lnSpc>
            <a:spcBef>
              <a:spcPct val="0"/>
            </a:spcBef>
            <a:spcAft>
              <a:spcPts val="600"/>
            </a:spcAft>
            <a:buChar char="•"/>
          </a:pPr>
          <a:r>
            <a:rPr lang="zh-CN" altLang="en-US" sz="1400" kern="1200" dirty="0">
              <a:solidFill>
                <a:schemeClr val="tx1"/>
              </a:solidFill>
              <a:uFillTx/>
              <a:latin typeface="Calibri" panose="020F0502020204030204" pitchFamily="34" charset="0"/>
            </a:rPr>
            <a:t>Evaluate good environmental management practices.</a:t>
          </a:r>
        </a:p>
        <a:p>
          <a:pPr marL="114300" lvl="1" indent="-114300" algn="l" defTabSz="622300" eaLnBrk="1" fontAlgn="auto" latinLnBrk="0" hangingPunct="1">
            <a:lnSpc>
              <a:spcPct val="100000"/>
            </a:lnSpc>
            <a:spcBef>
              <a:spcPct val="0"/>
            </a:spcBef>
            <a:spcAft>
              <a:spcPts val="600"/>
            </a:spcAft>
            <a:buChar char="•"/>
          </a:pPr>
          <a:r>
            <a:rPr lang="zh-CN" altLang="en-US" sz="1400" kern="1200" dirty="0">
              <a:solidFill>
                <a:schemeClr val="tx1"/>
              </a:solidFill>
              <a:uFillTx/>
              <a:latin typeface="Calibri" panose="020F0502020204030204" pitchFamily="34" charset="0"/>
            </a:rPr>
            <a:t>Identify potentially vulnerable areas for </a:t>
          </a:r>
          <a:r>
            <a:rPr lang="en-US" altLang="zh-CN" sz="1400" kern="1200" dirty="0">
              <a:solidFill>
                <a:schemeClr val="tx1"/>
              </a:solidFill>
              <a:uFillTx/>
              <a:latin typeface="Calibri" panose="020F0502020204030204" pitchFamily="34" charset="0"/>
            </a:rPr>
            <a:t>pollution/emission </a:t>
          </a:r>
          <a:endParaRPr lang="zh-CN" altLang="en-US" sz="1400" kern="1200" dirty="0">
            <a:solidFill>
              <a:schemeClr val="tx1"/>
            </a:solidFill>
            <a:uFillTx/>
            <a:latin typeface="Calibri" panose="020F0502020204030204" pitchFamily="34" charset="0"/>
          </a:endParaRPr>
        </a:p>
        <a:p>
          <a:pPr marL="114300" lvl="1" indent="-114300" algn="l" defTabSz="622300" eaLnBrk="1" fontAlgn="auto" latinLnBrk="0" hangingPunct="1">
            <a:lnSpc>
              <a:spcPct val="100000"/>
            </a:lnSpc>
            <a:spcBef>
              <a:spcPct val="0"/>
            </a:spcBef>
            <a:spcAft>
              <a:spcPts val="600"/>
            </a:spcAft>
            <a:buChar char="•"/>
          </a:pPr>
          <a:r>
            <a:rPr lang="zh-CN" altLang="en-US" sz="1400" kern="1200" dirty="0">
              <a:solidFill>
                <a:schemeClr val="tx1"/>
              </a:solidFill>
              <a:uFillTx/>
              <a:latin typeface="Calibri" panose="020F0502020204030204" pitchFamily="34" charset="0"/>
            </a:rPr>
            <a:t>Observe management systems and practices, including atmosphere between management and workers</a:t>
          </a:r>
        </a:p>
        <a:p>
          <a:pPr marL="114300" lvl="1" indent="-114300" algn="l" defTabSz="622300" eaLnBrk="1" fontAlgn="auto" latinLnBrk="0" hangingPunct="1">
            <a:lnSpc>
              <a:spcPct val="100000"/>
            </a:lnSpc>
            <a:spcBef>
              <a:spcPct val="0"/>
            </a:spcBef>
            <a:spcAft>
              <a:spcPts val="600"/>
            </a:spcAft>
            <a:buChar char="•"/>
          </a:pPr>
          <a:endParaRPr lang="zh-CN" altLang="en-US" sz="1400" kern="1200" dirty="0">
            <a:solidFill>
              <a:schemeClr val="tx1"/>
            </a:solidFill>
            <a:uFillTx/>
            <a:latin typeface="Calibri" panose="020F0502020204030204" pitchFamily="34" charset="0"/>
          </a:endParaRPr>
        </a:p>
      </dsp:txBody>
      <dsp:txXfrm>
        <a:off x="3520268" y="1835663"/>
        <a:ext cx="3085179" cy="2854800"/>
      </dsp:txXfrm>
    </dsp:sp>
    <dsp:sp modelId="{FC453BFD-315B-4968-86FA-B7D3125F3320}">
      <dsp:nvSpPr>
        <dsp:cNvPr id="0" name=""/>
        <dsp:cNvSpPr/>
      </dsp:nvSpPr>
      <dsp:spPr bwMode="white">
        <a:xfrm>
          <a:off x="7040536" y="553907"/>
          <a:ext cx="3085179" cy="123407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100000"/>
            </a:lnSpc>
            <a:spcBef>
              <a:spcPct val="0"/>
            </a:spcBef>
            <a:spcAft>
              <a:spcPct val="35000"/>
            </a:spcAft>
            <a:buNone/>
          </a:pPr>
          <a:r>
            <a:rPr lang="en-US" altLang="zh-CN" sz="2400" b="1" kern="1200" dirty="0">
              <a:latin typeface="Calibri" panose="020F0502020204030204" pitchFamily="34" charset="0"/>
              <a:cs typeface="Calibri" panose="020F0502020204030204" pitchFamily="34" charset="0"/>
            </a:rPr>
            <a:t>Management &amp; Employee Interviews</a:t>
          </a:r>
          <a:endParaRPr lang="zh-CN" altLang="en-US" sz="2400" b="1" kern="1200" dirty="0">
            <a:latin typeface="Calibri" panose="020F0502020204030204" pitchFamily="34" charset="0"/>
            <a:cs typeface="Calibri" panose="020F0502020204030204" pitchFamily="34" charset="0"/>
          </a:endParaRPr>
        </a:p>
      </dsp:txBody>
      <dsp:txXfrm>
        <a:off x="7040536" y="553907"/>
        <a:ext cx="3085179" cy="1234071"/>
      </dsp:txXfrm>
    </dsp:sp>
    <dsp:sp modelId="{B357C82A-FE93-416B-AFBF-A74F9E99C4E4}">
      <dsp:nvSpPr>
        <dsp:cNvPr id="0" name=""/>
        <dsp:cNvSpPr/>
      </dsp:nvSpPr>
      <dsp:spPr bwMode="white">
        <a:xfrm>
          <a:off x="7037372" y="1835663"/>
          <a:ext cx="3085179" cy="28548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eaLnBrk="1" fontAlgn="auto" latinLnBrk="0" hangingPunct="1">
            <a:lnSpc>
              <a:spcPct val="100000"/>
            </a:lnSpc>
            <a:spcBef>
              <a:spcPct val="0"/>
            </a:spcBef>
            <a:spcAft>
              <a:spcPts val="600"/>
            </a:spcAft>
            <a:buChar char="•"/>
          </a:pPr>
          <a:r>
            <a:rPr lang="en-US" altLang="en-US" sz="1400" kern="1200" dirty="0">
              <a:solidFill>
                <a:schemeClr val="tx1"/>
              </a:solidFill>
              <a:uFillTx/>
              <a:latin typeface="Calibri" panose="020F0502020204030204" pitchFamily="34" charset="0"/>
            </a:rPr>
            <a:t>The audit team should work through the relevant code requirement discussing each issue area in depth with the managers. </a:t>
          </a:r>
        </a:p>
        <a:p>
          <a:pPr marL="114300" lvl="1" indent="-114300" algn="l" defTabSz="622300" eaLnBrk="1" fontAlgn="auto" latinLnBrk="0" hangingPunct="1">
            <a:lnSpc>
              <a:spcPct val="100000"/>
            </a:lnSpc>
            <a:spcBef>
              <a:spcPct val="0"/>
            </a:spcBef>
            <a:spcAft>
              <a:spcPts val="600"/>
            </a:spcAft>
            <a:buChar char="•"/>
          </a:pPr>
          <a:r>
            <a:rPr lang="en-US" altLang="zh-CN" sz="1400" kern="1200" dirty="0">
              <a:solidFill>
                <a:schemeClr val="tx1"/>
              </a:solidFill>
              <a:uFillTx/>
              <a:latin typeface="Calibri" panose="020F0502020204030204" pitchFamily="34" charset="0"/>
            </a:rPr>
            <a:t>E</a:t>
          </a:r>
          <a:r>
            <a:rPr lang="zh-CN" altLang="en-US" sz="1400" kern="1200" dirty="0">
              <a:solidFill>
                <a:schemeClr val="tx1"/>
              </a:solidFill>
              <a:uFillTx/>
              <a:latin typeface="Calibri" panose="020F0502020204030204" pitchFamily="34" charset="0"/>
            </a:rPr>
            <a:t>mployees selected by auditors with interviews held in private with records being taken</a:t>
          </a:r>
        </a:p>
        <a:p>
          <a:pPr marL="114300" lvl="1" indent="-114300" algn="l" defTabSz="622300" eaLnBrk="1" fontAlgn="auto" latinLnBrk="0" hangingPunct="1">
            <a:lnSpc>
              <a:spcPct val="100000"/>
            </a:lnSpc>
            <a:spcBef>
              <a:spcPct val="0"/>
            </a:spcBef>
            <a:spcAft>
              <a:spcPts val="600"/>
            </a:spcAft>
            <a:buChar char="•"/>
          </a:pPr>
          <a:endParaRPr lang="zh-CN" altLang="en-US" sz="1400" kern="1200" dirty="0">
            <a:solidFill>
              <a:schemeClr val="tx1"/>
            </a:solidFill>
            <a:uFillTx/>
            <a:latin typeface="Calibri" panose="020F0502020204030204" pitchFamily="34" charset="0"/>
          </a:endParaRPr>
        </a:p>
      </dsp:txBody>
      <dsp:txXfrm>
        <a:off x="7037372" y="1835663"/>
        <a:ext cx="3085179" cy="28548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9704F8-5A95-419F-B794-1E2F82666BDB}">
      <dsp:nvSpPr>
        <dsp:cNvPr id="0" name=""/>
        <dsp:cNvSpPr/>
      </dsp:nvSpPr>
      <dsp:spPr bwMode="white">
        <a:xfrm>
          <a:off x="3164" y="601591"/>
          <a:ext cx="3085179" cy="123407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100000"/>
            </a:lnSpc>
            <a:spcBef>
              <a:spcPct val="0"/>
            </a:spcBef>
            <a:spcAft>
              <a:spcPct val="35000"/>
            </a:spcAft>
            <a:buNone/>
          </a:pPr>
          <a:r>
            <a:rPr lang="en-US" altLang="zh-CN" sz="2400" b="1" kern="1200" dirty="0">
              <a:solidFill>
                <a:schemeClr val="bg1"/>
              </a:solidFill>
              <a:uFillTx/>
              <a:latin typeface="Calibri" panose="020F0502020204030204" pitchFamily="34" charset="0"/>
              <a:sym typeface="+mn-ea"/>
            </a:rPr>
            <a:t>Documentation Review </a:t>
          </a:r>
          <a:endParaRPr sz="6500" kern="1200"/>
        </a:p>
      </dsp:txBody>
      <dsp:txXfrm>
        <a:off x="3164" y="601591"/>
        <a:ext cx="3085179" cy="1234071"/>
      </dsp:txXfrm>
    </dsp:sp>
    <dsp:sp modelId="{C0A6D3D8-DBC2-45B6-8DEF-789A72552BB4}">
      <dsp:nvSpPr>
        <dsp:cNvPr id="0" name=""/>
        <dsp:cNvSpPr/>
      </dsp:nvSpPr>
      <dsp:spPr bwMode="white">
        <a:xfrm>
          <a:off x="3164" y="1835663"/>
          <a:ext cx="3085179" cy="28548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eaLnBrk="1" fontAlgn="auto" latinLnBrk="0" hangingPunct="1">
            <a:lnSpc>
              <a:spcPct val="100000"/>
            </a:lnSpc>
            <a:spcBef>
              <a:spcPct val="0"/>
            </a:spcBef>
            <a:spcAft>
              <a:spcPts val="300"/>
            </a:spcAft>
            <a:buChar char="•"/>
          </a:pPr>
          <a:r>
            <a:rPr lang="zh-CN" altLang="en-US" sz="1400" kern="1200" dirty="0">
              <a:solidFill>
                <a:schemeClr val="tx1"/>
              </a:solidFill>
              <a:uFillTx/>
              <a:latin typeface="Calibri" panose="020F0502020204030204" pitchFamily="34" charset="0"/>
            </a:rPr>
            <a:t>Company policies</a:t>
          </a:r>
        </a:p>
        <a:p>
          <a:pPr marL="114300" lvl="1" indent="-114300" algn="l" defTabSz="622300" eaLnBrk="1" fontAlgn="auto" latinLnBrk="0" hangingPunct="1">
            <a:lnSpc>
              <a:spcPct val="100000"/>
            </a:lnSpc>
            <a:spcBef>
              <a:spcPct val="0"/>
            </a:spcBef>
            <a:spcAft>
              <a:spcPts val="300"/>
            </a:spcAft>
            <a:buChar char="•"/>
          </a:pPr>
          <a:r>
            <a:rPr lang="zh-CN" altLang="en-US" sz="1400" kern="1200" dirty="0">
              <a:solidFill>
                <a:schemeClr val="tx1"/>
              </a:solidFill>
              <a:uFillTx/>
              <a:latin typeface="Calibri" panose="020F0502020204030204" pitchFamily="34" charset="0"/>
            </a:rPr>
            <a:t>Environmental management plans</a:t>
          </a:r>
        </a:p>
        <a:p>
          <a:pPr marL="114300" lvl="1" indent="-114300" algn="l" defTabSz="622300" eaLnBrk="1" fontAlgn="auto" latinLnBrk="0" hangingPunct="1">
            <a:lnSpc>
              <a:spcPct val="100000"/>
            </a:lnSpc>
            <a:spcBef>
              <a:spcPct val="0"/>
            </a:spcBef>
            <a:spcAft>
              <a:spcPts val="300"/>
            </a:spcAft>
            <a:buChar char="•"/>
          </a:pPr>
          <a:r>
            <a:rPr lang="zh-CN" altLang="en-US" sz="1400" kern="1200" dirty="0">
              <a:solidFill>
                <a:schemeClr val="tx1"/>
              </a:solidFill>
              <a:uFillTx/>
              <a:latin typeface="Calibri" panose="020F0502020204030204" pitchFamily="34" charset="0"/>
            </a:rPr>
            <a:t>Legal compliance documentation / permits / licenses</a:t>
          </a:r>
        </a:p>
        <a:p>
          <a:pPr marL="114300" lvl="1" indent="-114300" algn="l" defTabSz="622300" eaLnBrk="1" fontAlgn="auto" latinLnBrk="0" hangingPunct="1">
            <a:lnSpc>
              <a:spcPct val="100000"/>
            </a:lnSpc>
            <a:spcBef>
              <a:spcPct val="0"/>
            </a:spcBef>
            <a:spcAft>
              <a:spcPts val="300"/>
            </a:spcAft>
            <a:buChar char="•"/>
          </a:pPr>
          <a:r>
            <a:rPr lang="zh-CN" altLang="en-US" sz="1400" kern="1200" dirty="0">
              <a:solidFill>
                <a:schemeClr val="tx1"/>
              </a:solidFill>
              <a:uFillTx/>
              <a:latin typeface="Calibri" panose="020F0502020204030204" pitchFamily="34" charset="0"/>
            </a:rPr>
            <a:t>Training records</a:t>
          </a:r>
        </a:p>
        <a:p>
          <a:pPr marL="114300" lvl="1" indent="-114300" algn="l" defTabSz="622300" eaLnBrk="1" fontAlgn="auto" latinLnBrk="0" hangingPunct="1">
            <a:lnSpc>
              <a:spcPct val="100000"/>
            </a:lnSpc>
            <a:spcBef>
              <a:spcPct val="0"/>
            </a:spcBef>
            <a:spcAft>
              <a:spcPts val="300"/>
            </a:spcAft>
            <a:buChar char="•"/>
          </a:pPr>
          <a:r>
            <a:rPr lang="zh-CN" altLang="en-US" sz="1400" kern="1200" dirty="0">
              <a:solidFill>
                <a:schemeClr val="tx1"/>
              </a:solidFill>
              <a:uFillTx/>
              <a:latin typeface="Calibri" panose="020F0502020204030204" pitchFamily="34" charset="0"/>
            </a:rPr>
            <a:t>Machinery inspection/service logs</a:t>
          </a:r>
        </a:p>
        <a:p>
          <a:pPr marL="114300" lvl="1" indent="-114300" algn="l" defTabSz="622300" eaLnBrk="1" fontAlgn="auto" latinLnBrk="0" hangingPunct="1">
            <a:lnSpc>
              <a:spcPct val="100000"/>
            </a:lnSpc>
            <a:spcBef>
              <a:spcPct val="0"/>
            </a:spcBef>
            <a:spcAft>
              <a:spcPts val="300"/>
            </a:spcAft>
            <a:buChar char="•"/>
          </a:pPr>
          <a:r>
            <a:rPr lang="zh-CN" altLang="en-US" sz="1400" kern="1200" dirty="0">
              <a:solidFill>
                <a:schemeClr val="tx1"/>
              </a:solidFill>
              <a:uFillTx/>
              <a:latin typeface="Calibri" panose="020F0502020204030204" pitchFamily="34" charset="0"/>
            </a:rPr>
            <a:t>Electricity and fuel records</a:t>
          </a:r>
        </a:p>
        <a:p>
          <a:pPr marL="114300" lvl="1" indent="-114300" algn="l" defTabSz="622300" eaLnBrk="1" fontAlgn="auto" latinLnBrk="0" hangingPunct="1">
            <a:lnSpc>
              <a:spcPct val="100000"/>
            </a:lnSpc>
            <a:spcBef>
              <a:spcPct val="0"/>
            </a:spcBef>
            <a:spcAft>
              <a:spcPts val="300"/>
            </a:spcAft>
            <a:buChar char="•"/>
          </a:pPr>
          <a:r>
            <a:rPr lang="zh-CN" altLang="en-US" sz="1400" kern="1200" dirty="0">
              <a:solidFill>
                <a:schemeClr val="tx1"/>
              </a:solidFill>
              <a:uFillTx/>
              <a:latin typeface="Calibri" panose="020F0502020204030204" pitchFamily="34" charset="0"/>
            </a:rPr>
            <a:t>Water/Waste record</a:t>
          </a:r>
        </a:p>
        <a:p>
          <a:pPr marL="114300" lvl="1" indent="-114300" algn="l" defTabSz="622300" eaLnBrk="1" fontAlgn="auto" latinLnBrk="0" hangingPunct="1">
            <a:lnSpc>
              <a:spcPct val="100000"/>
            </a:lnSpc>
            <a:spcBef>
              <a:spcPct val="0"/>
            </a:spcBef>
            <a:spcAft>
              <a:spcPts val="300"/>
            </a:spcAft>
            <a:buChar char="•"/>
          </a:pPr>
          <a:r>
            <a:rPr lang="zh-CN" altLang="en-US" sz="1400" kern="1200" dirty="0">
              <a:solidFill>
                <a:schemeClr val="tx1"/>
              </a:solidFill>
              <a:uFillTx/>
              <a:latin typeface="Calibri" panose="020F0502020204030204" pitchFamily="34" charset="0"/>
            </a:rPr>
            <a:t>Permit for any on-site waste management facility</a:t>
          </a:r>
        </a:p>
      </dsp:txBody>
      <dsp:txXfrm>
        <a:off x="3164" y="1835663"/>
        <a:ext cx="3085179" cy="2854800"/>
      </dsp:txXfrm>
    </dsp:sp>
    <dsp:sp modelId="{3E0BA246-3456-471B-AD87-1436FD251DD8}">
      <dsp:nvSpPr>
        <dsp:cNvPr id="0" name=""/>
        <dsp:cNvSpPr/>
      </dsp:nvSpPr>
      <dsp:spPr bwMode="white">
        <a:xfrm>
          <a:off x="3520268" y="601591"/>
          <a:ext cx="3085179" cy="123407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100000"/>
            </a:lnSpc>
            <a:spcBef>
              <a:spcPct val="0"/>
            </a:spcBef>
            <a:spcAft>
              <a:spcPct val="35000"/>
            </a:spcAft>
            <a:buNone/>
          </a:pPr>
          <a:r>
            <a:rPr lang="en-US" sz="2400" b="1" kern="1200" dirty="0">
              <a:solidFill>
                <a:schemeClr val="bg1"/>
              </a:solidFill>
              <a:uFillTx/>
              <a:latin typeface="Calibri" panose="020F0502020204030204" pitchFamily="34" charset="0"/>
              <a:sym typeface="+mn-ea"/>
            </a:rPr>
            <a:t>Pre‐Closing Meeting</a:t>
          </a:r>
        </a:p>
      </dsp:txBody>
      <dsp:txXfrm>
        <a:off x="3520268" y="601591"/>
        <a:ext cx="3085179" cy="1234071"/>
      </dsp:txXfrm>
    </dsp:sp>
    <dsp:sp modelId="{33CF15AD-8A19-4E9A-9BED-239A79CAF737}">
      <dsp:nvSpPr>
        <dsp:cNvPr id="0" name=""/>
        <dsp:cNvSpPr/>
      </dsp:nvSpPr>
      <dsp:spPr bwMode="white">
        <a:xfrm>
          <a:off x="3520268" y="1835663"/>
          <a:ext cx="3085179" cy="28548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eaLnBrk="1" fontAlgn="auto" latinLnBrk="0" hangingPunct="1">
            <a:lnSpc>
              <a:spcPct val="100000"/>
            </a:lnSpc>
            <a:spcBef>
              <a:spcPct val="0"/>
            </a:spcBef>
            <a:spcAft>
              <a:spcPts val="600"/>
            </a:spcAft>
            <a:buChar char="•"/>
          </a:pPr>
          <a:r>
            <a:rPr sz="1400" kern="1200" dirty="0">
              <a:solidFill>
                <a:schemeClr val="tx1"/>
              </a:solidFill>
              <a:uFillTx/>
              <a:latin typeface="Calibri" panose="020F0502020204030204" pitchFamily="34" charset="0"/>
            </a:rPr>
            <a:t>Non‐compliances found, including:  Status/severity (critical, major, minor) Recommended corrective actions</a:t>
          </a:r>
        </a:p>
        <a:p>
          <a:pPr marL="114300" lvl="1" indent="-114300" algn="l" defTabSz="622300" eaLnBrk="1" fontAlgn="auto" latinLnBrk="0" hangingPunct="1">
            <a:lnSpc>
              <a:spcPct val="100000"/>
            </a:lnSpc>
            <a:spcBef>
              <a:spcPct val="0"/>
            </a:spcBef>
            <a:spcAft>
              <a:spcPts val="600"/>
            </a:spcAft>
            <a:buChar char="•"/>
          </a:pPr>
          <a:r>
            <a:rPr sz="1400" kern="1200" dirty="0">
              <a:solidFill>
                <a:schemeClr val="tx1"/>
              </a:solidFill>
              <a:uFillTx/>
              <a:latin typeface="Calibri" panose="020F0502020204030204" pitchFamily="34" charset="0"/>
            </a:rPr>
            <a:t> Systematic problems and issues</a:t>
          </a:r>
        </a:p>
        <a:p>
          <a:pPr marL="114300" lvl="1" indent="-114300" algn="l" defTabSz="622300" eaLnBrk="1" fontAlgn="auto" latinLnBrk="0" hangingPunct="1">
            <a:lnSpc>
              <a:spcPct val="100000"/>
            </a:lnSpc>
            <a:spcBef>
              <a:spcPct val="0"/>
            </a:spcBef>
            <a:spcAft>
              <a:spcPts val="600"/>
            </a:spcAft>
            <a:buChar char="•"/>
          </a:pPr>
          <a:r>
            <a:rPr sz="1400" kern="1200" dirty="0">
              <a:solidFill>
                <a:schemeClr val="tx1"/>
              </a:solidFill>
              <a:uFillTx/>
              <a:latin typeface="Calibri" panose="020F0502020204030204" pitchFamily="34" charset="0"/>
            </a:rPr>
            <a:t>Good practice examples</a:t>
          </a:r>
        </a:p>
        <a:p>
          <a:pPr marL="114300" lvl="1" indent="-114300" algn="l" defTabSz="622300" eaLnBrk="1" fontAlgn="auto" latinLnBrk="0" hangingPunct="1">
            <a:lnSpc>
              <a:spcPct val="100000"/>
            </a:lnSpc>
            <a:spcBef>
              <a:spcPct val="0"/>
            </a:spcBef>
            <a:spcAft>
              <a:spcPts val="600"/>
            </a:spcAft>
            <a:buChar char="•"/>
          </a:pPr>
          <a:r>
            <a:rPr sz="1400" kern="1200" dirty="0">
              <a:solidFill>
                <a:schemeClr val="tx1"/>
              </a:solidFill>
              <a:uFillTx/>
              <a:latin typeface="Calibri" panose="020F0502020204030204" pitchFamily="34" charset="0"/>
            </a:rPr>
            <a:t>Prioritization of issues</a:t>
          </a:r>
        </a:p>
        <a:p>
          <a:pPr marL="114300" lvl="1" indent="-114300" algn="l" defTabSz="622300" eaLnBrk="1" fontAlgn="auto" latinLnBrk="0" hangingPunct="1">
            <a:lnSpc>
              <a:spcPct val="100000"/>
            </a:lnSpc>
            <a:spcBef>
              <a:spcPct val="0"/>
            </a:spcBef>
            <a:spcAft>
              <a:spcPts val="600"/>
            </a:spcAft>
            <a:buChar char="•"/>
          </a:pPr>
          <a:r>
            <a:rPr sz="1400" kern="1200" dirty="0">
              <a:solidFill>
                <a:schemeClr val="tx1"/>
              </a:solidFill>
              <a:uFillTx/>
              <a:latin typeface="Calibri" panose="020F0502020204030204" pitchFamily="34" charset="0"/>
            </a:rPr>
            <a:t>Any requests for additional information or evidence</a:t>
          </a:r>
        </a:p>
        <a:p>
          <a:pPr marL="114300" lvl="1" indent="-114300" algn="l" defTabSz="622300" eaLnBrk="1" fontAlgn="auto" latinLnBrk="0" hangingPunct="1">
            <a:lnSpc>
              <a:spcPct val="100000"/>
            </a:lnSpc>
            <a:spcBef>
              <a:spcPct val="0"/>
            </a:spcBef>
            <a:spcAft>
              <a:spcPts val="600"/>
            </a:spcAft>
            <a:buChar char="•"/>
          </a:pPr>
          <a:r>
            <a:rPr sz="1400" kern="1200" dirty="0">
              <a:solidFill>
                <a:schemeClr val="tx1"/>
              </a:solidFill>
              <a:uFillTx/>
              <a:latin typeface="Calibri" panose="020F0502020204030204" pitchFamily="34" charset="0"/>
            </a:rPr>
            <a:t>Prepare Corrective Action Plan(CAP)</a:t>
          </a:r>
        </a:p>
      </dsp:txBody>
      <dsp:txXfrm>
        <a:off x="3520268" y="1835663"/>
        <a:ext cx="3085179" cy="2854800"/>
      </dsp:txXfrm>
    </dsp:sp>
    <dsp:sp modelId="{FC453BFD-315B-4968-86FA-B7D3125F3320}">
      <dsp:nvSpPr>
        <dsp:cNvPr id="0" name=""/>
        <dsp:cNvSpPr/>
      </dsp:nvSpPr>
      <dsp:spPr bwMode="white">
        <a:xfrm>
          <a:off x="7040536" y="553907"/>
          <a:ext cx="3085179" cy="123407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100000"/>
            </a:lnSpc>
            <a:spcBef>
              <a:spcPct val="0"/>
            </a:spcBef>
            <a:spcAft>
              <a:spcPct val="35000"/>
            </a:spcAft>
            <a:buNone/>
          </a:pPr>
          <a:r>
            <a:rPr lang="en-US" altLang="zh-CN" sz="2400" b="1" kern="1200" dirty="0">
              <a:latin typeface="Calibri" panose="020F0502020204030204" pitchFamily="34" charset="0"/>
              <a:cs typeface="Calibri" panose="020F0502020204030204" pitchFamily="34" charset="0"/>
            </a:rPr>
            <a:t>Management &amp; Employee Interviews</a:t>
          </a:r>
          <a:endParaRPr lang="zh-CN" altLang="en-US" sz="2400" b="1" kern="1200" dirty="0">
            <a:latin typeface="Calibri" panose="020F0502020204030204" pitchFamily="34" charset="0"/>
            <a:cs typeface="Calibri" panose="020F0502020204030204" pitchFamily="34" charset="0"/>
          </a:endParaRPr>
        </a:p>
      </dsp:txBody>
      <dsp:txXfrm>
        <a:off x="7040536" y="553907"/>
        <a:ext cx="3085179" cy="1234071"/>
      </dsp:txXfrm>
    </dsp:sp>
    <dsp:sp modelId="{B357C82A-FE93-416B-AFBF-A74F9E99C4E4}">
      <dsp:nvSpPr>
        <dsp:cNvPr id="0" name=""/>
        <dsp:cNvSpPr/>
      </dsp:nvSpPr>
      <dsp:spPr bwMode="white">
        <a:xfrm>
          <a:off x="7037372" y="1835663"/>
          <a:ext cx="3085179" cy="28548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eaLnBrk="1" fontAlgn="auto" latinLnBrk="0" hangingPunct="1">
            <a:lnSpc>
              <a:spcPct val="100000"/>
            </a:lnSpc>
            <a:spcBef>
              <a:spcPct val="0"/>
            </a:spcBef>
            <a:spcAft>
              <a:spcPts val="600"/>
            </a:spcAft>
            <a:buChar char="•"/>
          </a:pPr>
          <a:r>
            <a:rPr lang="en-US" sz="1400" kern="1200" dirty="0">
              <a:solidFill>
                <a:schemeClr val="tx1"/>
              </a:solidFill>
              <a:uFillTx/>
              <a:latin typeface="Calibri" panose="020F0502020204030204" pitchFamily="34" charset="0"/>
              <a:sym typeface="+mn-ea"/>
            </a:rPr>
            <a:t>Reconfirm the purpose of the audit.</a:t>
          </a:r>
          <a:endParaRPr lang="zh-CN" altLang="en-US" sz="1400" kern="1200" dirty="0">
            <a:solidFill>
              <a:schemeClr val="tx1"/>
            </a:solidFill>
            <a:uFillTx/>
            <a:latin typeface="Calibri" panose="020F0502020204030204" pitchFamily="34" charset="0"/>
          </a:endParaRPr>
        </a:p>
        <a:p>
          <a:pPr marL="114300" lvl="1" indent="-114300" algn="l" defTabSz="622300" eaLnBrk="1" fontAlgn="auto" latinLnBrk="0" hangingPunct="1">
            <a:lnSpc>
              <a:spcPct val="100000"/>
            </a:lnSpc>
            <a:spcBef>
              <a:spcPct val="0"/>
            </a:spcBef>
            <a:spcAft>
              <a:spcPts val="600"/>
            </a:spcAft>
            <a:buChar char="•"/>
          </a:pPr>
          <a:r>
            <a:rPr lang="en-US" sz="1400" kern="1200" dirty="0">
              <a:solidFill>
                <a:schemeClr val="tx1"/>
              </a:solidFill>
              <a:uFillTx/>
              <a:latin typeface="Calibri" panose="020F0502020204030204" pitchFamily="34" charset="0"/>
              <a:sym typeface="+mn-ea"/>
            </a:rPr>
            <a:t>Recognize good practices.</a:t>
          </a:r>
          <a:endParaRPr lang="en-US" sz="1400" kern="1200" dirty="0">
            <a:solidFill>
              <a:schemeClr val="tx1"/>
            </a:solidFill>
            <a:uFillTx/>
            <a:latin typeface="Calibri" panose="020F0502020204030204" pitchFamily="34" charset="0"/>
          </a:endParaRPr>
        </a:p>
        <a:p>
          <a:pPr marL="114300" lvl="1" indent="-114300" algn="l" defTabSz="622300" eaLnBrk="1" fontAlgn="auto" latinLnBrk="0" hangingPunct="1">
            <a:lnSpc>
              <a:spcPct val="100000"/>
            </a:lnSpc>
            <a:spcBef>
              <a:spcPct val="0"/>
            </a:spcBef>
            <a:spcAft>
              <a:spcPts val="600"/>
            </a:spcAft>
            <a:buChar char="•"/>
          </a:pPr>
          <a:r>
            <a:rPr lang="en-US" sz="1400" kern="1200" dirty="0">
              <a:solidFill>
                <a:schemeClr val="tx1"/>
              </a:solidFill>
              <a:uFillTx/>
              <a:latin typeface="Calibri" panose="020F0502020204030204" pitchFamily="34" charset="0"/>
              <a:sym typeface="+mn-ea"/>
            </a:rPr>
            <a:t>Agree on non‐compliances.</a:t>
          </a:r>
          <a:endParaRPr lang="en-US" sz="1400" kern="1200" dirty="0">
            <a:solidFill>
              <a:schemeClr val="tx1"/>
            </a:solidFill>
            <a:uFillTx/>
            <a:latin typeface="Calibri" panose="020F0502020204030204" pitchFamily="34" charset="0"/>
          </a:endParaRPr>
        </a:p>
        <a:p>
          <a:pPr marL="114300" lvl="1" indent="-114300" algn="l" defTabSz="622300" eaLnBrk="1" fontAlgn="auto" latinLnBrk="0" hangingPunct="1">
            <a:lnSpc>
              <a:spcPct val="100000"/>
            </a:lnSpc>
            <a:spcBef>
              <a:spcPct val="0"/>
            </a:spcBef>
            <a:spcAft>
              <a:spcPts val="600"/>
            </a:spcAft>
            <a:buChar char="•"/>
          </a:pPr>
          <a:r>
            <a:rPr lang="en-US" sz="1400" kern="1200" dirty="0">
              <a:solidFill>
                <a:schemeClr val="tx1"/>
              </a:solidFill>
              <a:uFillTx/>
              <a:latin typeface="Calibri" panose="020F0502020204030204" pitchFamily="34" charset="0"/>
              <a:sym typeface="+mn-ea"/>
            </a:rPr>
            <a:t>Suggest corrective actions, timing, and responsibility.</a:t>
          </a:r>
          <a:endParaRPr lang="en-US" sz="1400" kern="1200" dirty="0">
            <a:solidFill>
              <a:schemeClr val="tx1"/>
            </a:solidFill>
            <a:uFillTx/>
            <a:latin typeface="Calibri" panose="020F0502020204030204" pitchFamily="34" charset="0"/>
          </a:endParaRPr>
        </a:p>
        <a:p>
          <a:pPr marL="114300" lvl="1" indent="-114300" algn="l" defTabSz="622300" eaLnBrk="1" fontAlgn="auto" latinLnBrk="0" hangingPunct="1">
            <a:lnSpc>
              <a:spcPct val="100000"/>
            </a:lnSpc>
            <a:spcBef>
              <a:spcPct val="0"/>
            </a:spcBef>
            <a:spcAft>
              <a:spcPts val="600"/>
            </a:spcAft>
            <a:buChar char="•"/>
          </a:pPr>
          <a:r>
            <a:rPr lang="en-US" sz="1400" kern="1200" dirty="0">
              <a:solidFill>
                <a:schemeClr val="tx1"/>
              </a:solidFill>
              <a:uFillTx/>
              <a:latin typeface="Calibri" panose="020F0502020204030204" pitchFamily="34" charset="0"/>
              <a:sym typeface="+mn-ea"/>
            </a:rPr>
            <a:t>Get sign‐off on the Summary of Findings and Corrective Actions by both auditor and employment site.</a:t>
          </a:r>
          <a:endParaRPr lang="zh-CN" altLang="en-US" sz="1400" kern="1200" dirty="0">
            <a:solidFill>
              <a:schemeClr val="tx1"/>
            </a:solidFill>
            <a:uFillTx/>
            <a:latin typeface="Calibri" panose="020F0502020204030204" pitchFamily="34" charset="0"/>
          </a:endParaRPr>
        </a:p>
      </dsp:txBody>
      <dsp:txXfrm>
        <a:off x="7037372" y="1835663"/>
        <a:ext cx="3085179" cy="285480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4">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fontAlgn="auto">
              <a:defRPr sz="1200" noProof="1"/>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fontAlgn="auto">
              <a:defRPr sz="1200" noProof="1" smtClean="0">
                <a:latin typeface="+mn-lt"/>
                <a:ea typeface="+mn-ea"/>
              </a:defRPr>
            </a:lvl1pPr>
          </a:lstStyle>
          <a:p>
            <a:fld id="{EF55CAEE-9351-405D-B604-5A2BE040498C}" type="datetimeFigureOut">
              <a:rPr lang="zh-CN" altLang="en-US"/>
              <a:t>22/6/29</a:t>
            </a:fld>
            <a:endParaRPr lang="zh-CN" altLang="en-US">
              <a:latin typeface="微软雅黑" panose="020B0503020204020204" pitchFamily="34" charset="-122"/>
              <a:ea typeface="微软雅黑" panose="020B0503020204020204" pitchFamily="34" charset="-122"/>
            </a:endParaRPr>
          </a:p>
        </p:txBody>
      </p:sp>
      <p:sp>
        <p:nvSpPr>
          <p:cNvPr id="3076" name="幻灯片图像占位符 3"/>
          <p:cNvSpPr>
            <a:spLocks noGrp="1" noRot="1" noChangeAspect="1" noChangeArrowheads="1"/>
          </p:cNvSpPr>
          <p:nvPr>
            <p:ph type="sldImg" idx="4294967295"/>
          </p:nvPr>
        </p:nvSpPr>
        <p:spPr bwMode="auto">
          <a:xfrm>
            <a:off x="685800" y="1143000"/>
            <a:ext cx="5486400" cy="3086100"/>
          </a:xfrm>
          <a:prstGeom prst="rect">
            <a:avLst/>
          </a:prstGeom>
          <a:noFill/>
          <a:ln w="12700">
            <a:solidFill>
              <a:srgbClr val="000000"/>
            </a:solidFill>
            <a:round/>
          </a:ln>
          <a:extLst>
            <a:ext uri="{909E8E84-426E-40DD-AFC4-6F175D3DCCD1}">
              <a14:hiddenFill xmlns:a14="http://schemas.microsoft.com/office/drawing/2010/main">
                <a:solidFill>
                  <a:srgbClr val="FFFFFF"/>
                </a:solidFill>
              </a14:hiddenFill>
            </a:ext>
          </a:extLst>
        </p:spPr>
      </p:sp>
      <p:sp>
        <p:nvSpPr>
          <p:cNvPr id="3077" name="备注占位符 4"/>
          <p:cNvSpPr>
            <a:spLocks noGrp="1" noChangeArrowheads="1"/>
          </p:cNvSpPr>
          <p:nvPr>
            <p:ph type="body" sz="quarter" idx="9"/>
          </p:nvPr>
        </p:nvSpPr>
        <p:spPr bwMode="auto">
          <a:xfrm>
            <a:off x="685800" y="4400550"/>
            <a:ext cx="548640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fontAlgn="auto">
              <a:defRPr sz="1200" noProof="1"/>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lstStyle>
            <a:lvl1pPr algn="r">
              <a:defRPr sz="1200"/>
            </a:lvl1pPr>
          </a:lstStyle>
          <a:p>
            <a:fld id="{24026F42-6C18-436D-9B0C-AEFDE08ED310}" type="slidenum">
              <a:rPr lang="zh-CN" altLang="en-US"/>
              <a:t>‹#›</a:t>
            </a:fld>
            <a:endParaRPr lang="zh-CN" altLang="en-US"/>
          </a:p>
        </p:txBody>
      </p:sp>
    </p:spTree>
  </p:cSld>
  <p:clrMap bg1="lt1" tx1="dk1" bg2="lt2" tx2="dk2" accent1="accent1" accent2="accent2" accent3="accent3" accent4="accent4" accent5="accent5" accent6="accent6" hlink="hlink" folHlink="folHlink"/>
  <p:notesStyle>
    <a:lvl1pPr algn="l" rtl="0" fontAlgn="base">
      <a:spcBef>
        <a:spcPct val="0"/>
      </a:spcBef>
      <a:spcAft>
        <a:spcPct val="0"/>
      </a:spcAft>
      <a:defRPr sz="1200" kern="1200">
        <a:solidFill>
          <a:schemeClr val="tx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sz="1200" kern="1200">
        <a:solidFill>
          <a:schemeClr val="tx1"/>
        </a:solidFill>
        <a:latin typeface="微软雅黑" panose="020B0503020204020204" pitchFamily="34" charset="-122"/>
        <a:ea typeface="微软雅黑" panose="020B0503020204020204" pitchFamily="34" charset="-122"/>
        <a:cs typeface="+mn-cs"/>
      </a:defRPr>
    </a:lvl2pPr>
    <a:lvl3pPr marL="914400" algn="l" rtl="0" fontAlgn="base">
      <a:spcBef>
        <a:spcPct val="0"/>
      </a:spcBef>
      <a:spcAft>
        <a:spcPct val="0"/>
      </a:spcAft>
      <a:defRPr sz="1200" kern="1200">
        <a:solidFill>
          <a:schemeClr val="tx1"/>
        </a:solidFill>
        <a:latin typeface="微软雅黑" panose="020B0503020204020204" pitchFamily="34" charset="-122"/>
        <a:ea typeface="微软雅黑" panose="020B0503020204020204" pitchFamily="34" charset="-122"/>
        <a:cs typeface="+mn-cs"/>
      </a:defRPr>
    </a:lvl3pPr>
    <a:lvl4pPr marL="1371600" algn="l" rtl="0" fontAlgn="base">
      <a:spcBef>
        <a:spcPct val="0"/>
      </a:spcBef>
      <a:spcAft>
        <a:spcPct val="0"/>
      </a:spcAft>
      <a:defRPr sz="1200" kern="1200">
        <a:solidFill>
          <a:schemeClr val="tx1"/>
        </a:solidFill>
        <a:latin typeface="微软雅黑" panose="020B0503020204020204" pitchFamily="34" charset="-122"/>
        <a:ea typeface="微软雅黑" panose="020B0503020204020204" pitchFamily="34" charset="-122"/>
        <a:cs typeface="+mn-cs"/>
      </a:defRPr>
    </a:lvl4pPr>
    <a:lvl5pPr marL="1828800" algn="l" rtl="0" fontAlgn="base">
      <a:spcBef>
        <a:spcPct val="0"/>
      </a:spcBef>
      <a:spcAft>
        <a:spcPct val="0"/>
      </a:spcAft>
      <a:defRPr sz="1200" kern="1200">
        <a:solidFill>
          <a:schemeClr val="tx1"/>
        </a:solidFill>
        <a:latin typeface="微软雅黑" panose="020B0503020204020204" pitchFamily="34" charset="-122"/>
        <a:ea typeface="微软雅黑" panose="020B0503020204020204" pitchFamily="34"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幻灯片图像占位符 1"/>
          <p:cNvSpPr>
            <a:spLocks noGrp="1" noRot="1" noChangeAspect="1" noChangeArrowheads="1"/>
          </p:cNvSpPr>
          <p:nvPr>
            <p:ph type="sldImg" idx="4294967295"/>
          </p:nvPr>
        </p:nvSpPr>
        <p:spPr>
          <a:ln>
            <a:miter lim="800000"/>
          </a:ln>
        </p:spPr>
      </p:sp>
      <p:sp>
        <p:nvSpPr>
          <p:cNvPr id="6146" name="备注占位符 2"/>
          <p:cNvSpPr>
            <a:spLocks noGrp="1" noChangeArrowheads="1"/>
          </p:cNvSpPr>
          <p:nvPr>
            <p:ph type="body" idx="4294967295"/>
          </p:nvPr>
        </p:nvSpPr>
        <p:spPr/>
        <p:txBody>
          <a:bodyPr/>
          <a:lstStyle/>
          <a:p>
            <a:endParaRPr lang="zh-CN" altLang="en-US"/>
          </a:p>
        </p:txBody>
      </p:sp>
      <p:sp>
        <p:nvSpPr>
          <p:cNvPr id="6147"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494473A-8CFA-4753-A279-55231BB8101D}" type="slidenum">
              <a:rPr lang="zh-CN" altLang="en-US"/>
              <a:t>2</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4294967295"/>
          </p:nvPr>
        </p:nvSpPr>
        <p:spPr/>
      </p:sp>
      <p:sp>
        <p:nvSpPr>
          <p:cNvPr id="3" name="文本占位符 2"/>
          <p:cNvSpPr>
            <a:spLocks noGrp="1"/>
          </p:cNvSpPr>
          <p:nvPr>
            <p:ph type="body" idx="9"/>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4294967295"/>
          </p:nvPr>
        </p:nvSpPr>
        <p:spPr/>
      </p:sp>
      <p:sp>
        <p:nvSpPr>
          <p:cNvPr id="3" name="文本占位符 2"/>
          <p:cNvSpPr>
            <a:spLocks noGrp="1"/>
          </p:cNvSpPr>
          <p:nvPr>
            <p:ph type="body" idx="9"/>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4294967295"/>
          </p:nvPr>
        </p:nvSpPr>
        <p:spPr/>
      </p:sp>
      <p:sp>
        <p:nvSpPr>
          <p:cNvPr id="3" name="文本占位符 2"/>
          <p:cNvSpPr>
            <a:spLocks noGrp="1"/>
          </p:cNvSpPr>
          <p:nvPr>
            <p:ph type="body" idx="9"/>
          </p:nvPr>
        </p:nvSpPr>
        <p:spPr/>
        <p:txBody>
          <a:bodyPr/>
          <a:lstStyle/>
          <a:p>
            <a:r>
              <a:rPr lang="zh-CN" altLang="en-US"/>
              <a:t>Suppliers are expected to implement internal controls to ensure they are able to live up to their commitment of compliance. The type and frequency of the audit will depend on the risk profile of the Supplier.</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4294967295"/>
          </p:nvPr>
        </p:nvSpPr>
        <p:spPr/>
      </p:sp>
      <p:sp>
        <p:nvSpPr>
          <p:cNvPr id="3" name="文本占位符 2"/>
          <p:cNvSpPr>
            <a:spLocks noGrp="1"/>
          </p:cNvSpPr>
          <p:nvPr>
            <p:ph type="body" idx="9"/>
          </p:nvPr>
        </p:nvSpPr>
        <p:spPr/>
        <p:txBody>
          <a:bodyPr/>
          <a:lstStyle/>
          <a:p>
            <a:r>
              <a:rPr lang="zh-CN" altLang="en-US"/>
              <a:t>The auditor should communicate the following information to the employment site at least two weeks before the audit.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4294967295"/>
          </p:nvPr>
        </p:nvSpPr>
        <p:spPr/>
      </p:sp>
      <p:sp>
        <p:nvSpPr>
          <p:cNvPr id="3" name="文本占位符 2"/>
          <p:cNvSpPr>
            <a:spLocks noGrp="1"/>
          </p:cNvSpPr>
          <p:nvPr>
            <p:ph type="body" idx="9"/>
          </p:nvPr>
        </p:nvSpPr>
        <p:spPr/>
        <p:txBody>
          <a:bodyPr/>
          <a:lstStyle/>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4294967295"/>
          </p:nvPr>
        </p:nvSpPr>
        <p:spPr/>
      </p:sp>
      <p:sp>
        <p:nvSpPr>
          <p:cNvPr id="3" name="文本占位符 2"/>
          <p:cNvSpPr>
            <a:spLocks noGrp="1"/>
          </p:cNvSpPr>
          <p:nvPr>
            <p:ph type="body" idx="9"/>
          </p:nvPr>
        </p:nvSpPr>
        <p:spPr/>
        <p:txBody>
          <a:bodyPr/>
          <a:lstStyle/>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4294967295"/>
          </p:nvPr>
        </p:nvSpPr>
        <p:spPr/>
      </p:sp>
      <p:sp>
        <p:nvSpPr>
          <p:cNvPr id="3" name="文本占位符 2"/>
          <p:cNvSpPr>
            <a:spLocks noGrp="1"/>
          </p:cNvSpPr>
          <p:nvPr>
            <p:ph type="body" idx="9"/>
          </p:nvPr>
        </p:nvSpPr>
        <p:spPr/>
        <p:txBody>
          <a:bodyPr/>
          <a:lstStyle/>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4294967295"/>
          </p:nvPr>
        </p:nvSpPr>
        <p:spPr/>
      </p:sp>
      <p:sp>
        <p:nvSpPr>
          <p:cNvPr id="3" name="文本占位符 2"/>
          <p:cNvSpPr>
            <a:spLocks noGrp="1"/>
          </p:cNvSpPr>
          <p:nvPr>
            <p:ph type="body" idx="9"/>
          </p:nvPr>
        </p:nvSpPr>
        <p:spPr/>
        <p:txBody>
          <a:bodyPr/>
          <a:lstStyle/>
          <a:p>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4294967295"/>
          </p:nvPr>
        </p:nvSpPr>
        <p:spPr/>
      </p:sp>
      <p:sp>
        <p:nvSpPr>
          <p:cNvPr id="3" name="文本占位符 2"/>
          <p:cNvSpPr>
            <a:spLocks noGrp="1"/>
          </p:cNvSpPr>
          <p:nvPr>
            <p:ph type="body" idx="9"/>
          </p:nvPr>
        </p:nvSpPr>
        <p:spPr/>
        <p:txBody>
          <a:bodyPr/>
          <a:lstStyle/>
          <a:p>
            <a:r>
              <a:rPr lang="zh-CN" altLang="en-US"/>
              <a:t>The auditor should communicate the following information to the employment site at least two weeks before the audit. </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a:defRPr/>
            </a:lvl1pPr>
          </a:lstStyle>
          <a:p>
            <a:fld id="{F463C627-6A63-442D-9051-38C884ED0C10}" type="datetimeFigureOut">
              <a:rPr lang="zh-CN" altLang="en-US"/>
              <a:t>22/6/29</a:t>
            </a:fld>
            <a:endParaRPr lang="zh-CN" altLang="en-US"/>
          </a:p>
        </p:txBody>
      </p:sp>
      <p:sp>
        <p:nvSpPr>
          <p:cNvPr id="3" name="页脚占位符 4"/>
          <p:cNvSpPr>
            <a:spLocks noGrp="1"/>
          </p:cNvSpPr>
          <p:nvPr>
            <p:ph type="ftr" sz="quarter" idx="11"/>
          </p:nvPr>
        </p:nvSpPr>
        <p:spPr/>
        <p:txBody>
          <a:bodyPr/>
          <a:lstStyle>
            <a:lvl1pPr>
              <a:defRPr/>
            </a:lvl1pPr>
          </a:lstStyle>
          <a:p>
            <a:endParaRPr lang="zh-CN" altLang="en-US"/>
          </a:p>
        </p:txBody>
      </p:sp>
      <p:sp>
        <p:nvSpPr>
          <p:cNvPr id="4" name="灯片编号占位符 5"/>
          <p:cNvSpPr>
            <a:spLocks noGrp="1"/>
          </p:cNvSpPr>
          <p:nvPr>
            <p:ph type="sldNum" sz="quarter" idx="12"/>
          </p:nvPr>
        </p:nvSpPr>
        <p:spPr/>
        <p:txBody>
          <a:bodyPr/>
          <a:lstStyle>
            <a:lvl1pPr>
              <a:defRPr/>
            </a:lvl1pPr>
          </a:lstStyle>
          <a:p>
            <a:fld id="{D73F1CDE-4FB8-4F7D-8D86-26D5D6572090}" type="slidenum">
              <a:rPr lang="zh-CN" altLang="en-US"/>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noProof="1"/>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4" name="日期占位符 3"/>
          <p:cNvSpPr>
            <a:spLocks noGrp="1"/>
          </p:cNvSpPr>
          <p:nvPr>
            <p:ph type="dt" sz="half" idx="10"/>
          </p:nvPr>
        </p:nvSpPr>
        <p:spPr/>
        <p:txBody>
          <a:bodyPr/>
          <a:lstStyle>
            <a:lvl1pPr>
              <a:defRPr/>
            </a:lvl1pPr>
          </a:lstStyle>
          <a:p>
            <a:fld id="{F463C627-6A63-442D-9051-38C884ED0C10}" type="datetimeFigureOut">
              <a:rPr lang="zh-CN" altLang="en-US"/>
              <a:t>22/6/29</a:t>
            </a:fld>
            <a:endParaRPr lang="zh-CN" altLang="en-US"/>
          </a:p>
        </p:txBody>
      </p:sp>
      <p:sp>
        <p:nvSpPr>
          <p:cNvPr id="5" name="页脚占位符 4"/>
          <p:cNvSpPr>
            <a:spLocks noGrp="1"/>
          </p:cNvSpPr>
          <p:nvPr>
            <p:ph type="ftr" sz="quarter" idx="11"/>
          </p:nvPr>
        </p:nvSpPr>
        <p:spPr/>
        <p:txBody>
          <a:bodyPr/>
          <a:lstStyle>
            <a:lvl1pPr>
              <a:defRPr/>
            </a:lvl1pPr>
          </a:lstStyle>
          <a:p>
            <a:endParaRPr lang="zh-CN" altLang="en-US"/>
          </a:p>
        </p:txBody>
      </p:sp>
      <p:sp>
        <p:nvSpPr>
          <p:cNvPr id="6" name="灯片编号占位符 5"/>
          <p:cNvSpPr>
            <a:spLocks noGrp="1"/>
          </p:cNvSpPr>
          <p:nvPr>
            <p:ph type="sldNum" sz="quarter" idx="12"/>
          </p:nvPr>
        </p:nvSpPr>
        <p:spPr/>
        <p:txBody>
          <a:bodyPr/>
          <a:lstStyle>
            <a:lvl1pPr>
              <a:defRPr/>
            </a:lvl1pPr>
          </a:lstStyle>
          <a:p>
            <a:fld id="{6A52BEEF-3F49-4E9C-B14E-D1724661BDDE}" type="slidenum">
              <a:rPr lang="zh-CN" altLang="en-US"/>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p>
        </p:txBody>
      </p:sp>
      <p:sp>
        <p:nvSpPr>
          <p:cNvPr id="3" name="内容占位符 2"/>
          <p:cNvSpPr>
            <a:spLocks noGrp="1"/>
          </p:cNvSpPr>
          <p:nvPr>
            <p:ph idx="1"/>
          </p:nvPr>
        </p:nvSpPr>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4" name="日期占位符 3"/>
          <p:cNvSpPr>
            <a:spLocks noGrp="1"/>
          </p:cNvSpPr>
          <p:nvPr>
            <p:ph type="dt" sz="half" idx="10"/>
          </p:nvPr>
        </p:nvSpPr>
        <p:spPr/>
        <p:txBody>
          <a:bodyPr/>
          <a:lstStyle>
            <a:lvl1pPr>
              <a:defRPr/>
            </a:lvl1pPr>
          </a:lstStyle>
          <a:p>
            <a:fld id="{F463C627-6A63-442D-9051-38C884ED0C10}" type="datetimeFigureOut">
              <a:rPr lang="zh-CN" altLang="en-US"/>
              <a:t>22/6/29</a:t>
            </a:fld>
            <a:endParaRPr lang="zh-CN" altLang="en-US"/>
          </a:p>
        </p:txBody>
      </p:sp>
      <p:sp>
        <p:nvSpPr>
          <p:cNvPr id="5" name="页脚占位符 4"/>
          <p:cNvSpPr>
            <a:spLocks noGrp="1"/>
          </p:cNvSpPr>
          <p:nvPr>
            <p:ph type="ftr" sz="quarter" idx="11"/>
          </p:nvPr>
        </p:nvSpPr>
        <p:spPr/>
        <p:txBody>
          <a:bodyPr/>
          <a:lstStyle>
            <a:lvl1pPr>
              <a:defRPr/>
            </a:lvl1pPr>
          </a:lstStyle>
          <a:p>
            <a:endParaRPr lang="zh-CN" altLang="en-US"/>
          </a:p>
        </p:txBody>
      </p:sp>
      <p:sp>
        <p:nvSpPr>
          <p:cNvPr id="6" name="灯片编号占位符 5"/>
          <p:cNvSpPr>
            <a:spLocks noGrp="1"/>
          </p:cNvSpPr>
          <p:nvPr>
            <p:ph type="sldNum" sz="quarter" idx="12"/>
          </p:nvPr>
        </p:nvSpPr>
        <p:spPr/>
        <p:txBody>
          <a:bodyPr/>
          <a:lstStyle>
            <a:lvl1pPr>
              <a:defRPr/>
            </a:lvl1pPr>
          </a:lstStyle>
          <a:p>
            <a:fld id="{E69E52F6-DC1F-41FF-8E62-B25756EC5CAC}" type="slidenum">
              <a:rPr lang="zh-CN" altLang="en-US"/>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noProof="1"/>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noProof="1"/>
              <a:t>单击此处编辑母版文本样式</a:t>
            </a:r>
          </a:p>
        </p:txBody>
      </p:sp>
      <p:sp>
        <p:nvSpPr>
          <p:cNvPr id="4" name="日期占位符 3"/>
          <p:cNvSpPr>
            <a:spLocks noGrp="1"/>
          </p:cNvSpPr>
          <p:nvPr>
            <p:ph type="dt" sz="half" idx="10"/>
          </p:nvPr>
        </p:nvSpPr>
        <p:spPr/>
        <p:txBody>
          <a:bodyPr/>
          <a:lstStyle>
            <a:lvl1pPr>
              <a:defRPr/>
            </a:lvl1pPr>
          </a:lstStyle>
          <a:p>
            <a:fld id="{F463C627-6A63-442D-9051-38C884ED0C10}" type="datetimeFigureOut">
              <a:rPr lang="zh-CN" altLang="en-US"/>
              <a:t>22/6/29</a:t>
            </a:fld>
            <a:endParaRPr lang="zh-CN" altLang="en-US"/>
          </a:p>
        </p:txBody>
      </p:sp>
      <p:sp>
        <p:nvSpPr>
          <p:cNvPr id="5" name="页脚占位符 4"/>
          <p:cNvSpPr>
            <a:spLocks noGrp="1"/>
          </p:cNvSpPr>
          <p:nvPr>
            <p:ph type="ftr" sz="quarter" idx="11"/>
          </p:nvPr>
        </p:nvSpPr>
        <p:spPr/>
        <p:txBody>
          <a:bodyPr/>
          <a:lstStyle>
            <a:lvl1pPr>
              <a:defRPr/>
            </a:lvl1pPr>
          </a:lstStyle>
          <a:p>
            <a:endParaRPr lang="zh-CN" altLang="en-US"/>
          </a:p>
        </p:txBody>
      </p:sp>
      <p:sp>
        <p:nvSpPr>
          <p:cNvPr id="6" name="灯片编号占位符 5"/>
          <p:cNvSpPr>
            <a:spLocks noGrp="1"/>
          </p:cNvSpPr>
          <p:nvPr>
            <p:ph type="sldNum" sz="quarter" idx="12"/>
          </p:nvPr>
        </p:nvSpPr>
        <p:spPr/>
        <p:txBody>
          <a:bodyPr/>
          <a:lstStyle>
            <a:lvl1pPr>
              <a:defRPr/>
            </a:lvl1pPr>
          </a:lstStyle>
          <a:p>
            <a:fld id="{E17E17FA-FCC5-4EE0-A28A-D833B4026341}" type="slidenum">
              <a:rPr lang="zh-CN" altLang="en-US"/>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5" name="日期占位符 3"/>
          <p:cNvSpPr>
            <a:spLocks noGrp="1"/>
          </p:cNvSpPr>
          <p:nvPr>
            <p:ph type="dt" sz="half" idx="10"/>
          </p:nvPr>
        </p:nvSpPr>
        <p:spPr/>
        <p:txBody>
          <a:bodyPr/>
          <a:lstStyle>
            <a:lvl1pPr>
              <a:defRPr/>
            </a:lvl1pPr>
          </a:lstStyle>
          <a:p>
            <a:fld id="{F463C627-6A63-442D-9051-38C884ED0C10}" type="datetimeFigureOut">
              <a:rPr lang="zh-CN" altLang="en-US"/>
              <a:t>22/6/29</a:t>
            </a:fld>
            <a:endParaRPr lang="zh-CN" altLang="en-US"/>
          </a:p>
        </p:txBody>
      </p:sp>
      <p:sp>
        <p:nvSpPr>
          <p:cNvPr id="6" name="页脚占位符 4"/>
          <p:cNvSpPr>
            <a:spLocks noGrp="1"/>
          </p:cNvSpPr>
          <p:nvPr>
            <p:ph type="ftr" sz="quarter" idx="11"/>
          </p:nvPr>
        </p:nvSpPr>
        <p:spPr/>
        <p:txBody>
          <a:bodyPr/>
          <a:lstStyle>
            <a:lvl1pPr>
              <a:defRPr/>
            </a:lvl1pPr>
          </a:lstStyle>
          <a:p>
            <a:endParaRPr lang="zh-CN" altLang="en-US"/>
          </a:p>
        </p:txBody>
      </p:sp>
      <p:sp>
        <p:nvSpPr>
          <p:cNvPr id="7" name="灯片编号占位符 5"/>
          <p:cNvSpPr>
            <a:spLocks noGrp="1"/>
          </p:cNvSpPr>
          <p:nvPr>
            <p:ph type="sldNum" sz="quarter" idx="12"/>
          </p:nvPr>
        </p:nvSpPr>
        <p:spPr/>
        <p:txBody>
          <a:bodyPr/>
          <a:lstStyle>
            <a:lvl1pPr>
              <a:defRPr/>
            </a:lvl1pPr>
          </a:lstStyle>
          <a:p>
            <a:fld id="{DCB419A4-C857-4B04-9E70-453420B4E211}" type="slidenum">
              <a:rPr lang="zh-CN" altLang="en-US"/>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noProof="1"/>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noProof="1"/>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noProof="1"/>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7" name="日期占位符 3"/>
          <p:cNvSpPr>
            <a:spLocks noGrp="1"/>
          </p:cNvSpPr>
          <p:nvPr>
            <p:ph type="dt" sz="half" idx="10"/>
          </p:nvPr>
        </p:nvSpPr>
        <p:spPr/>
        <p:txBody>
          <a:bodyPr/>
          <a:lstStyle>
            <a:lvl1pPr>
              <a:defRPr/>
            </a:lvl1pPr>
          </a:lstStyle>
          <a:p>
            <a:fld id="{F463C627-6A63-442D-9051-38C884ED0C10}" type="datetimeFigureOut">
              <a:rPr lang="zh-CN" altLang="en-US"/>
              <a:t>22/6/29</a:t>
            </a:fld>
            <a:endParaRPr lang="zh-CN" altLang="en-US"/>
          </a:p>
        </p:txBody>
      </p:sp>
      <p:sp>
        <p:nvSpPr>
          <p:cNvPr id="8" name="页脚占位符 4"/>
          <p:cNvSpPr>
            <a:spLocks noGrp="1"/>
          </p:cNvSpPr>
          <p:nvPr>
            <p:ph type="ftr" sz="quarter" idx="11"/>
          </p:nvPr>
        </p:nvSpPr>
        <p:spPr/>
        <p:txBody>
          <a:bodyPr/>
          <a:lstStyle>
            <a:lvl1pPr>
              <a:defRPr/>
            </a:lvl1pPr>
          </a:lstStyle>
          <a:p>
            <a:endParaRPr lang="zh-CN" altLang="en-US"/>
          </a:p>
        </p:txBody>
      </p:sp>
      <p:sp>
        <p:nvSpPr>
          <p:cNvPr id="9" name="灯片编号占位符 5"/>
          <p:cNvSpPr>
            <a:spLocks noGrp="1"/>
          </p:cNvSpPr>
          <p:nvPr>
            <p:ph type="sldNum" sz="quarter" idx="12"/>
          </p:nvPr>
        </p:nvSpPr>
        <p:spPr/>
        <p:txBody>
          <a:bodyPr/>
          <a:lstStyle>
            <a:lvl1pPr>
              <a:defRPr/>
            </a:lvl1pPr>
          </a:lstStyle>
          <a:p>
            <a:fld id="{03776765-1DFD-4515-87EE-5ED40E720194}" type="slidenum">
              <a:rPr lang="zh-CN" altLang="en-US"/>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a:defRPr/>
            </a:lvl1pPr>
          </a:lstStyle>
          <a:p>
            <a:fld id="{F463C627-6A63-442D-9051-38C884ED0C10}" type="datetimeFigureOut">
              <a:rPr lang="zh-CN" altLang="en-US"/>
              <a:t>22/6/29</a:t>
            </a:fld>
            <a:endParaRPr lang="zh-CN" altLang="en-US"/>
          </a:p>
        </p:txBody>
      </p:sp>
      <p:sp>
        <p:nvSpPr>
          <p:cNvPr id="3" name="页脚占位符 4"/>
          <p:cNvSpPr>
            <a:spLocks noGrp="1"/>
          </p:cNvSpPr>
          <p:nvPr>
            <p:ph type="ftr" sz="quarter" idx="11"/>
          </p:nvPr>
        </p:nvSpPr>
        <p:spPr/>
        <p:txBody>
          <a:bodyPr/>
          <a:lstStyle>
            <a:lvl1pPr>
              <a:defRPr/>
            </a:lvl1pPr>
          </a:lstStyle>
          <a:p>
            <a:endParaRPr lang="zh-CN" altLang="en-US"/>
          </a:p>
        </p:txBody>
      </p:sp>
      <p:sp>
        <p:nvSpPr>
          <p:cNvPr id="4" name="灯片编号占位符 5"/>
          <p:cNvSpPr>
            <a:spLocks noGrp="1"/>
          </p:cNvSpPr>
          <p:nvPr>
            <p:ph type="sldNum" sz="quarter" idx="12"/>
          </p:nvPr>
        </p:nvSpPr>
        <p:spPr/>
        <p:txBody>
          <a:bodyPr/>
          <a:lstStyle>
            <a:lvl1pPr>
              <a:defRPr/>
            </a:lvl1pPr>
          </a:lstStyle>
          <a:p>
            <a:fld id="{CE64B888-605F-42D5-9B85-FE32AD1C9849}" type="slidenum">
              <a:rPr lang="zh-CN" altLang="en-US"/>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noProof="1"/>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noProof="1"/>
              <a:t>单击此处编辑母版文本样式</a:t>
            </a:r>
          </a:p>
        </p:txBody>
      </p:sp>
      <p:sp>
        <p:nvSpPr>
          <p:cNvPr id="5" name="日期占位符 3"/>
          <p:cNvSpPr>
            <a:spLocks noGrp="1"/>
          </p:cNvSpPr>
          <p:nvPr>
            <p:ph type="dt" sz="half" idx="10"/>
          </p:nvPr>
        </p:nvSpPr>
        <p:spPr/>
        <p:txBody>
          <a:bodyPr/>
          <a:lstStyle>
            <a:lvl1pPr>
              <a:defRPr/>
            </a:lvl1pPr>
          </a:lstStyle>
          <a:p>
            <a:fld id="{F463C627-6A63-442D-9051-38C884ED0C10}" type="datetimeFigureOut">
              <a:rPr lang="zh-CN" altLang="en-US"/>
              <a:t>22/6/29</a:t>
            </a:fld>
            <a:endParaRPr lang="zh-CN" altLang="en-US"/>
          </a:p>
        </p:txBody>
      </p:sp>
      <p:sp>
        <p:nvSpPr>
          <p:cNvPr id="6" name="页脚占位符 4"/>
          <p:cNvSpPr>
            <a:spLocks noGrp="1"/>
          </p:cNvSpPr>
          <p:nvPr>
            <p:ph type="ftr" sz="quarter" idx="11"/>
          </p:nvPr>
        </p:nvSpPr>
        <p:spPr/>
        <p:txBody>
          <a:bodyPr/>
          <a:lstStyle>
            <a:lvl1pPr>
              <a:defRPr/>
            </a:lvl1pPr>
          </a:lstStyle>
          <a:p>
            <a:endParaRPr lang="zh-CN" altLang="en-US"/>
          </a:p>
        </p:txBody>
      </p:sp>
      <p:sp>
        <p:nvSpPr>
          <p:cNvPr id="7" name="灯片编号占位符 5"/>
          <p:cNvSpPr>
            <a:spLocks noGrp="1"/>
          </p:cNvSpPr>
          <p:nvPr>
            <p:ph type="sldNum" sz="quarter" idx="12"/>
          </p:nvPr>
        </p:nvSpPr>
        <p:spPr/>
        <p:txBody>
          <a:bodyPr/>
          <a:lstStyle>
            <a:lvl1pPr>
              <a:defRPr/>
            </a:lvl1pPr>
          </a:lstStyle>
          <a:p>
            <a:fld id="{8F7BEF89-29F2-4702-85D0-0FA1D72D6BDC}" type="slidenum">
              <a:rPr lang="zh-CN" altLang="en-US"/>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noProof="1"/>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noProof="1"/>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noProof="1"/>
              <a:t>单击此处编辑母版文本样式</a:t>
            </a:r>
          </a:p>
        </p:txBody>
      </p:sp>
      <p:sp>
        <p:nvSpPr>
          <p:cNvPr id="5" name="日期占位符 3"/>
          <p:cNvSpPr>
            <a:spLocks noGrp="1"/>
          </p:cNvSpPr>
          <p:nvPr>
            <p:ph type="dt" sz="half" idx="10"/>
          </p:nvPr>
        </p:nvSpPr>
        <p:spPr/>
        <p:txBody>
          <a:bodyPr/>
          <a:lstStyle>
            <a:lvl1pPr>
              <a:defRPr/>
            </a:lvl1pPr>
          </a:lstStyle>
          <a:p>
            <a:fld id="{F463C627-6A63-442D-9051-38C884ED0C10}" type="datetimeFigureOut">
              <a:rPr lang="zh-CN" altLang="en-US"/>
              <a:t>22/6/29</a:t>
            </a:fld>
            <a:endParaRPr lang="zh-CN" altLang="en-US"/>
          </a:p>
        </p:txBody>
      </p:sp>
      <p:sp>
        <p:nvSpPr>
          <p:cNvPr id="6" name="页脚占位符 4"/>
          <p:cNvSpPr>
            <a:spLocks noGrp="1"/>
          </p:cNvSpPr>
          <p:nvPr>
            <p:ph type="ftr" sz="quarter" idx="11"/>
          </p:nvPr>
        </p:nvSpPr>
        <p:spPr/>
        <p:txBody>
          <a:bodyPr/>
          <a:lstStyle>
            <a:lvl1pPr>
              <a:defRPr/>
            </a:lvl1pPr>
          </a:lstStyle>
          <a:p>
            <a:endParaRPr lang="zh-CN" altLang="en-US"/>
          </a:p>
        </p:txBody>
      </p:sp>
      <p:sp>
        <p:nvSpPr>
          <p:cNvPr id="7" name="灯片编号占位符 5"/>
          <p:cNvSpPr>
            <a:spLocks noGrp="1"/>
          </p:cNvSpPr>
          <p:nvPr>
            <p:ph type="sldNum" sz="quarter" idx="12"/>
          </p:nvPr>
        </p:nvSpPr>
        <p:spPr/>
        <p:txBody>
          <a:bodyPr/>
          <a:lstStyle>
            <a:lvl1pPr>
              <a:defRPr/>
            </a:lvl1pPr>
          </a:lstStyle>
          <a:p>
            <a:fld id="{7A3F78E8-AF35-44E5-8540-08F45E5BF9EC}" type="slidenum">
              <a:rPr lang="zh-CN" altLang="en-US"/>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p>
        </p:txBody>
      </p:sp>
      <p:sp>
        <p:nvSpPr>
          <p:cNvPr id="3" name="竖排文字占位符 2"/>
          <p:cNvSpPr>
            <a:spLocks noGrp="1"/>
          </p:cNvSpPr>
          <p:nvPr>
            <p:ph type="body" orient="vert" idx="1"/>
          </p:nvPr>
        </p:nvSpPr>
        <p:spPr/>
        <p:txBody>
          <a:bodyPr vert="eaVert"/>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4" name="日期占位符 3"/>
          <p:cNvSpPr>
            <a:spLocks noGrp="1"/>
          </p:cNvSpPr>
          <p:nvPr>
            <p:ph type="dt" sz="half" idx="10"/>
          </p:nvPr>
        </p:nvSpPr>
        <p:spPr/>
        <p:txBody>
          <a:bodyPr/>
          <a:lstStyle>
            <a:lvl1pPr>
              <a:defRPr/>
            </a:lvl1pPr>
          </a:lstStyle>
          <a:p>
            <a:fld id="{F463C627-6A63-442D-9051-38C884ED0C10}" type="datetimeFigureOut">
              <a:rPr lang="zh-CN" altLang="en-US"/>
              <a:t>22/6/29</a:t>
            </a:fld>
            <a:endParaRPr lang="zh-CN" altLang="en-US"/>
          </a:p>
        </p:txBody>
      </p:sp>
      <p:sp>
        <p:nvSpPr>
          <p:cNvPr id="5" name="页脚占位符 4"/>
          <p:cNvSpPr>
            <a:spLocks noGrp="1"/>
          </p:cNvSpPr>
          <p:nvPr>
            <p:ph type="ftr" sz="quarter" idx="11"/>
          </p:nvPr>
        </p:nvSpPr>
        <p:spPr/>
        <p:txBody>
          <a:bodyPr/>
          <a:lstStyle>
            <a:lvl1pPr>
              <a:defRPr/>
            </a:lvl1pPr>
          </a:lstStyle>
          <a:p>
            <a:endParaRPr lang="zh-CN" altLang="en-US"/>
          </a:p>
        </p:txBody>
      </p:sp>
      <p:sp>
        <p:nvSpPr>
          <p:cNvPr id="6" name="灯片编号占位符 5"/>
          <p:cNvSpPr>
            <a:spLocks noGrp="1"/>
          </p:cNvSpPr>
          <p:nvPr>
            <p:ph type="sldNum" sz="quarter" idx="12"/>
          </p:nvPr>
        </p:nvSpPr>
        <p:spPr/>
        <p:txBody>
          <a:bodyPr/>
          <a:lstStyle>
            <a:lvl1pPr>
              <a:defRPr/>
            </a:lvl1pPr>
          </a:lstStyle>
          <a:p>
            <a:fld id="{5961A111-6C44-4ADA-8907-E6E0E321EDD5}" type="slidenum">
              <a:rPr lang="zh-CN" altLang="en-US"/>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rgbClr val="197519">
            <a:alpha val="4999"/>
          </a:srgb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2" name="think-cell Slide" r:id="rId14" imgW="5715" imgH="5715" progId="TCLayout.ActiveDocument.1">
                  <p:embed/>
                </p:oleObj>
              </mc:Choice>
              <mc:Fallback>
                <p:oleObj name="think-cell Slide" r:id="rId14" imgW="5715" imgH="5715" progId="TCLayout.ActiveDocument.1">
                  <p:embed/>
                  <p:pic>
                    <p:nvPicPr>
                      <p:cNvPr id="0" name="图片 1095"/>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26" name="标题占位符 1"/>
          <p:cNvSpPr>
            <a:spLocks noGrp="1" noChangeArrowheads="1"/>
          </p:cNvSpPr>
          <p:nvPr>
            <p:ph type="title" idx="4294967295"/>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p>
            <a:pPr lvl="0"/>
            <a:r>
              <a:rPr lang="zh-CN" altLang="en-US"/>
              <a:t>单击此处编辑母版标题样式</a:t>
            </a:r>
          </a:p>
        </p:txBody>
      </p:sp>
      <p:sp>
        <p:nvSpPr>
          <p:cNvPr id="1027" name="文本占位符 2"/>
          <p:cNvSpPr>
            <a:spLocks noGrp="1" noChangeArrowheads="1"/>
          </p:cNvSpPr>
          <p:nvPr>
            <p:ph type="body" idx="9"/>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fontAlgn="auto">
              <a:defRPr sz="1200" noProof="1" smtClean="0">
                <a:solidFill>
                  <a:schemeClr val="tx1">
                    <a:tint val="75000"/>
                  </a:schemeClr>
                </a:solidFill>
                <a:latin typeface="+mn-lt"/>
                <a:ea typeface="+mn-ea"/>
              </a:defRPr>
            </a:lvl1pPr>
          </a:lstStyle>
          <a:p>
            <a:fld id="{F463C627-6A63-442D-9051-38C884ED0C10}" type="datetimeFigureOut">
              <a:rPr lang="zh-CN" altLang="en-US"/>
              <a:t>22/6/29</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fontAlgn="auto">
              <a:defRPr sz="1200" noProof="1">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lstStyle>
            <a:lvl1pPr algn="r">
              <a:defRPr sz="1200">
                <a:solidFill>
                  <a:srgbClr val="898989"/>
                </a:solidFill>
              </a:defRPr>
            </a:lvl1pPr>
          </a:lstStyle>
          <a:p>
            <a:fld id="{6BB62685-5D3F-46CE-A885-364600ECF8E2}" type="slidenum">
              <a:rPr lang="zh-CN" altLang="en-US"/>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txStyles>
    <p:titleStyle>
      <a:lvl1pPr algn="l" rtl="0" fontAlgn="base">
        <a:lnSpc>
          <a:spcPct val="90000"/>
        </a:lnSpc>
        <a:spcBef>
          <a:spcPct val="0"/>
        </a:spcBef>
        <a:spcAft>
          <a:spcPct val="0"/>
        </a:spcAft>
        <a:defRPr sz="4400" kern="1200">
          <a:solidFill>
            <a:schemeClr val="tx1"/>
          </a:solidFill>
          <a:latin typeface="+mj-lt"/>
          <a:ea typeface="+mj-ea"/>
          <a:cs typeface="+mj-cs"/>
        </a:defRPr>
      </a:lvl1pPr>
      <a:lvl2pPr algn="l" rtl="0" fontAlgn="base">
        <a:lnSpc>
          <a:spcPct val="90000"/>
        </a:lnSpc>
        <a:spcBef>
          <a:spcPct val="0"/>
        </a:spcBef>
        <a:spcAft>
          <a:spcPct val="0"/>
        </a:spcAft>
        <a:defRPr sz="4400">
          <a:solidFill>
            <a:schemeClr val="tx1"/>
          </a:solidFill>
          <a:latin typeface="微软雅黑" panose="020B0503020204020204" pitchFamily="34" charset="-122"/>
          <a:ea typeface="微软雅黑" panose="020B0503020204020204" pitchFamily="34" charset="-122"/>
        </a:defRPr>
      </a:lvl2pPr>
      <a:lvl3pPr algn="l" rtl="0" fontAlgn="base">
        <a:lnSpc>
          <a:spcPct val="90000"/>
        </a:lnSpc>
        <a:spcBef>
          <a:spcPct val="0"/>
        </a:spcBef>
        <a:spcAft>
          <a:spcPct val="0"/>
        </a:spcAft>
        <a:defRPr sz="4400">
          <a:solidFill>
            <a:schemeClr val="tx1"/>
          </a:solidFill>
          <a:latin typeface="微软雅黑" panose="020B0503020204020204" pitchFamily="34" charset="-122"/>
          <a:ea typeface="微软雅黑" panose="020B0503020204020204" pitchFamily="34" charset="-122"/>
        </a:defRPr>
      </a:lvl3pPr>
      <a:lvl4pPr algn="l" rtl="0" fontAlgn="base">
        <a:lnSpc>
          <a:spcPct val="90000"/>
        </a:lnSpc>
        <a:spcBef>
          <a:spcPct val="0"/>
        </a:spcBef>
        <a:spcAft>
          <a:spcPct val="0"/>
        </a:spcAft>
        <a:defRPr sz="4400">
          <a:solidFill>
            <a:schemeClr val="tx1"/>
          </a:solidFill>
          <a:latin typeface="微软雅黑" panose="020B0503020204020204" pitchFamily="34" charset="-122"/>
          <a:ea typeface="微软雅黑" panose="020B0503020204020204" pitchFamily="34" charset="-122"/>
        </a:defRPr>
      </a:lvl4pPr>
      <a:lvl5pPr algn="l" rtl="0" fontAlgn="base">
        <a:lnSpc>
          <a:spcPct val="90000"/>
        </a:lnSpc>
        <a:spcBef>
          <a:spcPct val="0"/>
        </a:spcBef>
        <a:spcAft>
          <a:spcPct val="0"/>
        </a:spcAft>
        <a:defRPr sz="4400">
          <a:solidFill>
            <a:schemeClr val="tx1"/>
          </a:solidFill>
          <a:latin typeface="微软雅黑" panose="020B0503020204020204" pitchFamily="34" charset="-122"/>
          <a:ea typeface="微软雅黑" panose="020B0503020204020204" pitchFamily="34" charset="-122"/>
        </a:defRPr>
      </a:lvl5pPr>
      <a:lvl6pPr marL="457200" algn="l" rtl="0" fontAlgn="base">
        <a:lnSpc>
          <a:spcPct val="90000"/>
        </a:lnSpc>
        <a:spcBef>
          <a:spcPct val="0"/>
        </a:spcBef>
        <a:spcAft>
          <a:spcPct val="0"/>
        </a:spcAft>
        <a:defRPr sz="4400">
          <a:solidFill>
            <a:schemeClr val="tx1"/>
          </a:solidFill>
          <a:latin typeface="微软雅黑" panose="020B0503020204020204" pitchFamily="34" charset="-122"/>
          <a:ea typeface="微软雅黑" panose="020B0503020204020204" pitchFamily="34" charset="-122"/>
        </a:defRPr>
      </a:lvl6pPr>
      <a:lvl7pPr marL="914400" algn="l" rtl="0" fontAlgn="base">
        <a:lnSpc>
          <a:spcPct val="90000"/>
        </a:lnSpc>
        <a:spcBef>
          <a:spcPct val="0"/>
        </a:spcBef>
        <a:spcAft>
          <a:spcPct val="0"/>
        </a:spcAft>
        <a:defRPr sz="4400">
          <a:solidFill>
            <a:schemeClr val="tx1"/>
          </a:solidFill>
          <a:latin typeface="微软雅黑" panose="020B0503020204020204" pitchFamily="34" charset="-122"/>
          <a:ea typeface="微软雅黑" panose="020B0503020204020204" pitchFamily="34" charset="-122"/>
        </a:defRPr>
      </a:lvl7pPr>
      <a:lvl8pPr marL="1371600" algn="l" rtl="0" fontAlgn="base">
        <a:lnSpc>
          <a:spcPct val="90000"/>
        </a:lnSpc>
        <a:spcBef>
          <a:spcPct val="0"/>
        </a:spcBef>
        <a:spcAft>
          <a:spcPct val="0"/>
        </a:spcAft>
        <a:defRPr sz="4400">
          <a:solidFill>
            <a:schemeClr val="tx1"/>
          </a:solidFill>
          <a:latin typeface="微软雅黑" panose="020B0503020204020204" pitchFamily="34" charset="-122"/>
          <a:ea typeface="微软雅黑" panose="020B0503020204020204" pitchFamily="34" charset="-122"/>
        </a:defRPr>
      </a:lvl8pPr>
      <a:lvl9pPr marL="1828800" algn="l" rtl="0" fontAlgn="base">
        <a:lnSpc>
          <a:spcPct val="90000"/>
        </a:lnSpc>
        <a:spcBef>
          <a:spcPct val="0"/>
        </a:spcBef>
        <a:spcAft>
          <a:spcPct val="0"/>
        </a:spcAft>
        <a:defRPr sz="4400">
          <a:solidFill>
            <a:schemeClr val="tx1"/>
          </a:solidFill>
          <a:latin typeface="微软雅黑" panose="020B0503020204020204" pitchFamily="34" charset="-122"/>
          <a:ea typeface="微软雅黑" panose="020B0503020204020204" pitchFamily="34" charset="-122"/>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 Type="http://schemas.openxmlformats.org/officeDocument/2006/relationships/tags" Target="../tags/tag6.xml"/><Relationship Id="rId21" Type="http://schemas.openxmlformats.org/officeDocument/2006/relationships/tags" Target="../tags/tag24.xml"/><Relationship Id="rId34" Type="http://schemas.openxmlformats.org/officeDocument/2006/relationships/notesSlide" Target="../notesSlides/notesSlide5.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slideLayout" Target="../slideLayouts/slideLayout6.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s>
</file>

<file path=ppt/slides/_rels/slide12.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6.xml"/><Relationship Id="rId7" Type="http://schemas.openxmlformats.org/officeDocument/2006/relationships/diagramColors" Target="../diagrams/colors2.xml"/><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3.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7.xml"/><Relationship Id="rId7" Type="http://schemas.openxmlformats.org/officeDocument/2006/relationships/diagramColors" Target="../diagrams/colors3.xml"/><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3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2.xml"/><Relationship Id="rId7" Type="http://schemas.openxmlformats.org/officeDocument/2006/relationships/diagramColors" Target="../diagrams/colors1.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等腰三角形 2"/>
          <p:cNvSpPr/>
          <p:nvPr/>
        </p:nvSpPr>
        <p:spPr>
          <a:xfrm rot="21193842" flipH="1">
            <a:off x="803275" y="3829050"/>
            <a:ext cx="1209675" cy="311150"/>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nvGrpSpPr>
          <p:cNvPr id="5" name="组合 4"/>
          <p:cNvGrpSpPr/>
          <p:nvPr/>
        </p:nvGrpSpPr>
        <p:grpSpPr bwMode="auto">
          <a:xfrm>
            <a:off x="3536764" y="809298"/>
            <a:ext cx="5383212" cy="5383213"/>
            <a:chOff x="3510653" y="819764"/>
            <a:chExt cx="5383162" cy="5383162"/>
          </a:xfrm>
        </p:grpSpPr>
        <p:sp>
          <p:nvSpPr>
            <p:cNvPr id="9" name="椭圆 8"/>
            <p:cNvSpPr/>
            <p:nvPr/>
          </p:nvSpPr>
          <p:spPr>
            <a:xfrm>
              <a:off x="3605902" y="915013"/>
              <a:ext cx="5192664" cy="5192664"/>
            </a:xfrm>
            <a:prstGeom prst="ellips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10" name="Oval 8_1"/>
            <p:cNvSpPr/>
            <p:nvPr/>
          </p:nvSpPr>
          <p:spPr>
            <a:xfrm>
              <a:off x="3510653" y="819764"/>
              <a:ext cx="5383162" cy="5383162"/>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sp>
        <p:nvSpPr>
          <p:cNvPr id="15" name="等腰三角形 14"/>
          <p:cNvSpPr/>
          <p:nvPr/>
        </p:nvSpPr>
        <p:spPr>
          <a:xfrm rot="3183980" flipH="1">
            <a:off x="10719594" y="4098132"/>
            <a:ext cx="846137" cy="666750"/>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23" name="等腰三角形 22"/>
          <p:cNvSpPr/>
          <p:nvPr/>
        </p:nvSpPr>
        <p:spPr>
          <a:xfrm rot="3183980" flipH="1">
            <a:off x="2375694" y="3318669"/>
            <a:ext cx="176212" cy="152400"/>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24" name="等腰三角形 23"/>
          <p:cNvSpPr/>
          <p:nvPr/>
        </p:nvSpPr>
        <p:spPr>
          <a:xfrm rot="6200158" flipH="1" flipV="1">
            <a:off x="1385888" y="1203325"/>
            <a:ext cx="155575" cy="1374775"/>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25" name="等腰三角形 24"/>
          <p:cNvSpPr/>
          <p:nvPr/>
        </p:nvSpPr>
        <p:spPr>
          <a:xfrm rot="6315786" flipH="1" flipV="1">
            <a:off x="2879725" y="1503363"/>
            <a:ext cx="430213" cy="376237"/>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26" name="等腰三角形 25"/>
          <p:cNvSpPr/>
          <p:nvPr/>
        </p:nvSpPr>
        <p:spPr>
          <a:xfrm rot="5872073" flipH="1">
            <a:off x="1517650" y="2898775"/>
            <a:ext cx="635000" cy="127000"/>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27" name="等腰三角形 26"/>
          <p:cNvSpPr/>
          <p:nvPr/>
        </p:nvSpPr>
        <p:spPr>
          <a:xfrm rot="1864198" flipH="1">
            <a:off x="9001125" y="5603875"/>
            <a:ext cx="430213" cy="371475"/>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cxnSp>
        <p:nvCxnSpPr>
          <p:cNvPr id="29" name="直接连接符 28"/>
          <p:cNvCxnSpPr/>
          <p:nvPr/>
        </p:nvCxnSpPr>
        <p:spPr>
          <a:xfrm flipH="1">
            <a:off x="8893175" y="-1206500"/>
            <a:ext cx="2643188" cy="2641600"/>
          </a:xfrm>
          <a:prstGeom prst="line">
            <a:avLst/>
          </a:prstGeom>
          <a:ln w="31750">
            <a:solidFill>
              <a:srgbClr val="19751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flipH="1">
            <a:off x="8294688" y="-774700"/>
            <a:ext cx="2209800" cy="2209800"/>
          </a:xfrm>
          <a:prstGeom prst="line">
            <a:avLst/>
          </a:prstGeom>
          <a:ln w="31750">
            <a:solidFill>
              <a:srgbClr val="19751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flipH="1">
            <a:off x="1177925" y="5576888"/>
            <a:ext cx="2571750" cy="2487612"/>
          </a:xfrm>
          <a:prstGeom prst="line">
            <a:avLst/>
          </a:prstGeom>
          <a:ln w="31750">
            <a:solidFill>
              <a:srgbClr val="19751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flipH="1">
            <a:off x="579438" y="5892800"/>
            <a:ext cx="2251075" cy="2171700"/>
          </a:xfrm>
          <a:prstGeom prst="line">
            <a:avLst/>
          </a:prstGeom>
          <a:ln w="31750">
            <a:solidFill>
              <a:srgbClr val="197519"/>
            </a:solidFill>
          </a:ln>
        </p:spPr>
        <p:style>
          <a:lnRef idx="1">
            <a:schemeClr val="accent1"/>
          </a:lnRef>
          <a:fillRef idx="0">
            <a:schemeClr val="accent1"/>
          </a:fillRef>
          <a:effectRef idx="0">
            <a:schemeClr val="accent1"/>
          </a:effectRef>
          <a:fontRef idx="minor">
            <a:schemeClr val="tx1"/>
          </a:fontRef>
        </p:style>
      </p:cxnSp>
      <p:sp>
        <p:nvSpPr>
          <p:cNvPr id="36" name="等腰三角形 35"/>
          <p:cNvSpPr/>
          <p:nvPr/>
        </p:nvSpPr>
        <p:spPr>
          <a:xfrm rot="3183980" flipH="1">
            <a:off x="1797051" y="681037"/>
            <a:ext cx="531812" cy="195263"/>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37" name="等腰三角形 36"/>
          <p:cNvSpPr/>
          <p:nvPr/>
        </p:nvSpPr>
        <p:spPr>
          <a:xfrm rot="3183980" flipH="1">
            <a:off x="10621169" y="2005807"/>
            <a:ext cx="306387" cy="1676400"/>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38" name="等腰三角形 37"/>
          <p:cNvSpPr/>
          <p:nvPr/>
        </p:nvSpPr>
        <p:spPr>
          <a:xfrm rot="3183980" flipH="1">
            <a:off x="8289925" y="6321425"/>
            <a:ext cx="177800" cy="152400"/>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41" name="等腰三角形 40"/>
          <p:cNvSpPr/>
          <p:nvPr/>
        </p:nvSpPr>
        <p:spPr>
          <a:xfrm rot="6200158" flipH="1" flipV="1">
            <a:off x="10758488" y="4879975"/>
            <a:ext cx="155575" cy="1374775"/>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45" name="文本框 44"/>
          <p:cNvSpPr txBox="1"/>
          <p:nvPr/>
        </p:nvSpPr>
        <p:spPr>
          <a:xfrm>
            <a:off x="4037012" y="4072731"/>
            <a:ext cx="4117975" cy="307975"/>
          </a:xfrm>
          <a:prstGeom prst="rect">
            <a:avLst/>
          </a:prstGeom>
          <a:noFill/>
        </p:spPr>
        <p:txBody>
          <a:bodyPr>
            <a:spAutoFit/>
          </a:bodyPr>
          <a:lstStyle/>
          <a:p>
            <a:pPr algn="ctr" fontAlgn="auto"/>
            <a:endParaRPr lang="zh-CN" altLang="en-US" sz="1360" noProof="1">
              <a:solidFill>
                <a:schemeClr val="bg1"/>
              </a:solidFill>
            </a:endParaRPr>
          </a:p>
        </p:txBody>
      </p:sp>
      <p:sp>
        <p:nvSpPr>
          <p:cNvPr id="22" name="文本框 44"/>
          <p:cNvSpPr txBox="1"/>
          <p:nvPr/>
        </p:nvSpPr>
        <p:spPr>
          <a:xfrm>
            <a:off x="3868186" y="3164264"/>
            <a:ext cx="4396283" cy="707886"/>
          </a:xfrm>
          <a:prstGeom prst="rect">
            <a:avLst/>
          </a:prstGeom>
          <a:noFill/>
        </p:spPr>
        <p:txBody>
          <a:bodyPr wrap="square">
            <a:spAutoFit/>
          </a:bodyPr>
          <a:lstStyle/>
          <a:p>
            <a:pPr algn="ctr" fontAlgn="auto"/>
            <a:r>
              <a:rPr lang="en-US" sz="4000" dirty="0">
                <a:solidFill>
                  <a:schemeClr val="bg1"/>
                </a:solidFill>
                <a:latin typeface="Calibri" panose="020F0502020204030204" pitchFamily="34" charset="0"/>
                <a:cs typeface="Calibri" panose="020F0502020204030204" pitchFamily="34" charset="0"/>
              </a:rPr>
              <a:t>Sustainability Audit</a:t>
            </a:r>
          </a:p>
        </p:txBody>
      </p:sp>
    </p:spTree>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7409" name="Freeform 99"/>
          <p:cNvSpPr>
            <a:spLocks noChangeArrowheads="1"/>
          </p:cNvSpPr>
          <p:nvPr/>
        </p:nvSpPr>
        <p:spPr bwMode="auto">
          <a:xfrm>
            <a:off x="690563" y="2089150"/>
            <a:ext cx="1127125" cy="931863"/>
          </a:xfrm>
          <a:custGeom>
            <a:avLst/>
            <a:gdLst>
              <a:gd name="T0" fmla="*/ 142 w 710"/>
              <a:gd name="T1" fmla="*/ 587 h 587"/>
              <a:gd name="T2" fmla="*/ 710 w 710"/>
              <a:gd name="T3" fmla="*/ 587 h 587"/>
              <a:gd name="T4" fmla="*/ 710 w 710"/>
              <a:gd name="T5" fmla="*/ 0 h 587"/>
              <a:gd name="T6" fmla="*/ 142 w 710"/>
              <a:gd name="T7" fmla="*/ 0 h 587"/>
              <a:gd name="T8" fmla="*/ 0 w 710"/>
              <a:gd name="T9" fmla="*/ 293 h 587"/>
              <a:gd name="T10" fmla="*/ 142 w 710"/>
              <a:gd name="T11" fmla="*/ 587 h 587"/>
            </a:gdLst>
            <a:ahLst/>
            <a:cxnLst>
              <a:cxn ang="0">
                <a:pos x="T0" y="T1"/>
              </a:cxn>
              <a:cxn ang="0">
                <a:pos x="T2" y="T3"/>
              </a:cxn>
              <a:cxn ang="0">
                <a:pos x="T4" y="T5"/>
              </a:cxn>
              <a:cxn ang="0">
                <a:pos x="T6" y="T7"/>
              </a:cxn>
              <a:cxn ang="0">
                <a:pos x="T8" y="T9"/>
              </a:cxn>
              <a:cxn ang="0">
                <a:pos x="T10" y="T11"/>
              </a:cxn>
            </a:cxnLst>
            <a:rect l="0" t="0" r="r" b="b"/>
            <a:pathLst>
              <a:path w="710" h="587">
                <a:moveTo>
                  <a:pt x="142" y="587"/>
                </a:moveTo>
                <a:lnTo>
                  <a:pt x="710" y="587"/>
                </a:lnTo>
                <a:lnTo>
                  <a:pt x="710" y="0"/>
                </a:lnTo>
                <a:lnTo>
                  <a:pt x="142" y="0"/>
                </a:lnTo>
                <a:lnTo>
                  <a:pt x="0" y="293"/>
                </a:lnTo>
                <a:lnTo>
                  <a:pt x="142" y="5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410" name="Freeform 108"/>
          <p:cNvSpPr>
            <a:spLocks noChangeArrowheads="1"/>
          </p:cNvSpPr>
          <p:nvPr/>
        </p:nvSpPr>
        <p:spPr bwMode="auto">
          <a:xfrm>
            <a:off x="9564688" y="2922588"/>
            <a:ext cx="1127125" cy="931862"/>
          </a:xfrm>
          <a:custGeom>
            <a:avLst/>
            <a:gdLst>
              <a:gd name="T0" fmla="*/ 566 w 710"/>
              <a:gd name="T1" fmla="*/ 0 h 587"/>
              <a:gd name="T2" fmla="*/ 0 w 710"/>
              <a:gd name="T3" fmla="*/ 0 h 587"/>
              <a:gd name="T4" fmla="*/ 0 w 710"/>
              <a:gd name="T5" fmla="*/ 587 h 587"/>
              <a:gd name="T6" fmla="*/ 566 w 710"/>
              <a:gd name="T7" fmla="*/ 587 h 587"/>
              <a:gd name="T8" fmla="*/ 710 w 710"/>
              <a:gd name="T9" fmla="*/ 293 h 587"/>
              <a:gd name="T10" fmla="*/ 566 w 710"/>
              <a:gd name="T11" fmla="*/ 0 h 587"/>
            </a:gdLst>
            <a:ahLst/>
            <a:cxnLst>
              <a:cxn ang="0">
                <a:pos x="T0" y="T1"/>
              </a:cxn>
              <a:cxn ang="0">
                <a:pos x="T2" y="T3"/>
              </a:cxn>
              <a:cxn ang="0">
                <a:pos x="T4" y="T5"/>
              </a:cxn>
              <a:cxn ang="0">
                <a:pos x="T6" y="T7"/>
              </a:cxn>
              <a:cxn ang="0">
                <a:pos x="T8" y="T9"/>
              </a:cxn>
              <a:cxn ang="0">
                <a:pos x="T10" y="T11"/>
              </a:cxn>
            </a:cxnLst>
            <a:rect l="0" t="0" r="r" b="b"/>
            <a:pathLst>
              <a:path w="710" h="587">
                <a:moveTo>
                  <a:pt x="566" y="0"/>
                </a:moveTo>
                <a:lnTo>
                  <a:pt x="0" y="0"/>
                </a:lnTo>
                <a:lnTo>
                  <a:pt x="0" y="587"/>
                </a:lnTo>
                <a:lnTo>
                  <a:pt x="566" y="587"/>
                </a:lnTo>
                <a:lnTo>
                  <a:pt x="710" y="293"/>
                </a:lnTo>
                <a:lnTo>
                  <a:pt x="5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nvGrpSpPr>
          <p:cNvPr id="4100" name="组合 4099"/>
          <p:cNvGrpSpPr/>
          <p:nvPr/>
        </p:nvGrpSpPr>
        <p:grpSpPr bwMode="auto">
          <a:xfrm>
            <a:off x="5003800" y="1835150"/>
            <a:ext cx="2184400" cy="3797300"/>
            <a:chOff x="5003800" y="1834716"/>
            <a:chExt cx="2184400" cy="3798169"/>
          </a:xfrm>
        </p:grpSpPr>
        <p:sp>
          <p:nvSpPr>
            <p:cNvPr id="15481" name="Freeform 5"/>
            <p:cNvSpPr>
              <a:spLocks noEditPoints="1"/>
            </p:cNvSpPr>
            <p:nvPr/>
          </p:nvSpPr>
          <p:spPr bwMode="auto">
            <a:xfrm>
              <a:off x="5003800" y="1834716"/>
              <a:ext cx="2184400" cy="3093158"/>
            </a:xfrm>
            <a:custGeom>
              <a:avLst/>
              <a:gdLst>
                <a:gd name="T0" fmla="*/ 1928 w 3840"/>
                <a:gd name="T1" fmla="*/ 0 h 5424"/>
                <a:gd name="T2" fmla="*/ 0 w 3840"/>
                <a:gd name="T3" fmla="*/ 1941 h 5424"/>
                <a:gd name="T4" fmla="*/ 633 w 3840"/>
                <a:gd name="T5" fmla="*/ 3500 h 5424"/>
                <a:gd name="T6" fmla="*/ 964 w 3840"/>
                <a:gd name="T7" fmla="*/ 5170 h 5424"/>
                <a:gd name="T8" fmla="*/ 1233 w 3840"/>
                <a:gd name="T9" fmla="*/ 5424 h 5424"/>
                <a:gd name="T10" fmla="*/ 2624 w 3840"/>
                <a:gd name="T11" fmla="*/ 5424 h 5424"/>
                <a:gd name="T12" fmla="*/ 2877 w 3840"/>
                <a:gd name="T13" fmla="*/ 5170 h 5424"/>
                <a:gd name="T14" fmla="*/ 3208 w 3840"/>
                <a:gd name="T15" fmla="*/ 3500 h 5424"/>
                <a:gd name="T16" fmla="*/ 3840 w 3840"/>
                <a:gd name="T17" fmla="*/ 1941 h 5424"/>
                <a:gd name="T18" fmla="*/ 1928 w 3840"/>
                <a:gd name="T19" fmla="*/ 0 h 5424"/>
                <a:gd name="T20" fmla="*/ 917 w 3840"/>
                <a:gd name="T21" fmla="*/ 2084 h 5424"/>
                <a:gd name="T22" fmla="*/ 1533 w 3840"/>
                <a:gd name="T23" fmla="*/ 1989 h 5424"/>
                <a:gd name="T24" fmla="*/ 1122 w 3840"/>
                <a:gd name="T25" fmla="*/ 1050 h 5424"/>
                <a:gd name="T26" fmla="*/ 2102 w 3840"/>
                <a:gd name="T27" fmla="*/ 780 h 5424"/>
                <a:gd name="T28" fmla="*/ 2655 w 3840"/>
                <a:gd name="T29" fmla="*/ 2561 h 5424"/>
                <a:gd name="T30" fmla="*/ 2165 w 3840"/>
                <a:gd name="T31" fmla="*/ 2609 h 5424"/>
                <a:gd name="T32" fmla="*/ 2703 w 3840"/>
                <a:gd name="T33" fmla="*/ 4152 h 5424"/>
                <a:gd name="T34" fmla="*/ 917 w 3840"/>
                <a:gd name="T35" fmla="*/ 2084 h 5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40" h="5424">
                  <a:moveTo>
                    <a:pt x="1928" y="0"/>
                  </a:moveTo>
                  <a:cubicBezTo>
                    <a:pt x="854" y="0"/>
                    <a:pt x="0" y="875"/>
                    <a:pt x="0" y="1941"/>
                  </a:cubicBezTo>
                  <a:cubicBezTo>
                    <a:pt x="0" y="2577"/>
                    <a:pt x="411" y="3134"/>
                    <a:pt x="633" y="3500"/>
                  </a:cubicBezTo>
                  <a:cubicBezTo>
                    <a:pt x="854" y="3850"/>
                    <a:pt x="964" y="5170"/>
                    <a:pt x="964" y="5170"/>
                  </a:cubicBezTo>
                  <a:cubicBezTo>
                    <a:pt x="964" y="5313"/>
                    <a:pt x="1075" y="5424"/>
                    <a:pt x="1233" y="5424"/>
                  </a:cubicBezTo>
                  <a:cubicBezTo>
                    <a:pt x="2624" y="5424"/>
                    <a:pt x="2624" y="5424"/>
                    <a:pt x="2624" y="5424"/>
                  </a:cubicBezTo>
                  <a:cubicBezTo>
                    <a:pt x="2766" y="5424"/>
                    <a:pt x="2877" y="5313"/>
                    <a:pt x="2877" y="5170"/>
                  </a:cubicBezTo>
                  <a:cubicBezTo>
                    <a:pt x="2877" y="5170"/>
                    <a:pt x="2987" y="3850"/>
                    <a:pt x="3208" y="3500"/>
                  </a:cubicBezTo>
                  <a:cubicBezTo>
                    <a:pt x="3430" y="3134"/>
                    <a:pt x="3840" y="2577"/>
                    <a:pt x="3840" y="1941"/>
                  </a:cubicBezTo>
                  <a:cubicBezTo>
                    <a:pt x="3840" y="875"/>
                    <a:pt x="2987" y="0"/>
                    <a:pt x="1928" y="0"/>
                  </a:cubicBezTo>
                  <a:close/>
                  <a:moveTo>
                    <a:pt x="917" y="2084"/>
                  </a:moveTo>
                  <a:cubicBezTo>
                    <a:pt x="1533" y="1989"/>
                    <a:pt x="1533" y="1989"/>
                    <a:pt x="1533" y="1989"/>
                  </a:cubicBezTo>
                  <a:cubicBezTo>
                    <a:pt x="1122" y="1050"/>
                    <a:pt x="1122" y="1050"/>
                    <a:pt x="1122" y="1050"/>
                  </a:cubicBezTo>
                  <a:cubicBezTo>
                    <a:pt x="2102" y="780"/>
                    <a:pt x="2102" y="780"/>
                    <a:pt x="2102" y="780"/>
                  </a:cubicBezTo>
                  <a:cubicBezTo>
                    <a:pt x="2655" y="2561"/>
                    <a:pt x="2655" y="2561"/>
                    <a:pt x="2655" y="2561"/>
                  </a:cubicBezTo>
                  <a:cubicBezTo>
                    <a:pt x="2165" y="2609"/>
                    <a:pt x="2165" y="2609"/>
                    <a:pt x="2165" y="2609"/>
                  </a:cubicBezTo>
                  <a:cubicBezTo>
                    <a:pt x="2703" y="4152"/>
                    <a:pt x="2703" y="4152"/>
                    <a:pt x="2703" y="4152"/>
                  </a:cubicBezTo>
                  <a:lnTo>
                    <a:pt x="917" y="2084"/>
                  </a:lnTo>
                  <a:close/>
                </a:path>
              </a:pathLst>
            </a:custGeom>
            <a:solidFill>
              <a:srgbClr val="219E21"/>
            </a:solidFill>
            <a:ln w="0">
              <a:noFill/>
              <a:prstDash val="solid"/>
              <a:round/>
            </a:ln>
            <a:effectLst>
              <a:outerShdw blurRad="50800" dist="38100" dir="2700000" algn="tl" rotWithShape="0">
                <a:prstClr val="black">
                  <a:alpha val="40000"/>
                </a:prstClr>
              </a:outerShdw>
            </a:effectLst>
          </p:spPr>
          <p:txBody>
            <a:bodyPr/>
            <a:lstStyle/>
            <a:p>
              <a:pPr fontAlgn="auto"/>
              <a:endParaRPr lang="zh-CN" altLang="en-US" noProof="1"/>
            </a:p>
          </p:txBody>
        </p:sp>
        <p:sp>
          <p:nvSpPr>
            <p:cNvPr id="15485" name="任意多边形 15484"/>
            <p:cNvSpPr/>
            <p:nvPr/>
          </p:nvSpPr>
          <p:spPr>
            <a:xfrm>
              <a:off x="5748338" y="5031085"/>
              <a:ext cx="700087" cy="233415"/>
            </a:xfrm>
            <a:custGeom>
              <a:avLst/>
              <a:gdLst>
                <a:gd name="connsiteX0" fmla="*/ 2381 w 700088"/>
                <a:gd name="connsiteY0" fmla="*/ 0 h 233363"/>
                <a:gd name="connsiteX1" fmla="*/ 688181 w 700088"/>
                <a:gd name="connsiteY1" fmla="*/ 0 h 233363"/>
                <a:gd name="connsiteX2" fmla="*/ 700088 w 700088"/>
                <a:gd name="connsiteY2" fmla="*/ 233363 h 233363"/>
                <a:gd name="connsiteX3" fmla="*/ 0 w 700088"/>
                <a:gd name="connsiteY3" fmla="*/ 78581 h 233363"/>
                <a:gd name="connsiteX4" fmla="*/ 2381 w 700088"/>
                <a:gd name="connsiteY4" fmla="*/ 0 h 233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088" h="233363">
                  <a:moveTo>
                    <a:pt x="2381" y="0"/>
                  </a:moveTo>
                  <a:lnTo>
                    <a:pt x="688181" y="0"/>
                  </a:lnTo>
                  <a:lnTo>
                    <a:pt x="700088" y="233363"/>
                  </a:lnTo>
                  <a:lnTo>
                    <a:pt x="0" y="78581"/>
                  </a:lnTo>
                  <a:cubicBezTo>
                    <a:pt x="794" y="52387"/>
                    <a:pt x="1587" y="26194"/>
                    <a:pt x="2381" y="0"/>
                  </a:cubicBezTo>
                  <a:close/>
                </a:path>
              </a:pathLst>
            </a:custGeom>
            <a:solidFill>
              <a:srgbClr val="19751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15486" name="任意多边形 15485"/>
            <p:cNvSpPr/>
            <p:nvPr/>
          </p:nvSpPr>
          <p:spPr>
            <a:xfrm>
              <a:off x="5740400" y="5183520"/>
              <a:ext cx="698500" cy="263585"/>
            </a:xfrm>
            <a:custGeom>
              <a:avLst/>
              <a:gdLst>
                <a:gd name="connsiteX0" fmla="*/ 697706 w 697706"/>
                <a:gd name="connsiteY0" fmla="*/ 264319 h 264319"/>
                <a:gd name="connsiteX1" fmla="*/ 695325 w 697706"/>
                <a:gd name="connsiteY1" fmla="*/ 135732 h 264319"/>
                <a:gd name="connsiteX2" fmla="*/ 0 w 697706"/>
                <a:gd name="connsiteY2" fmla="*/ 0 h 264319"/>
                <a:gd name="connsiteX3" fmla="*/ 2381 w 697706"/>
                <a:gd name="connsiteY3" fmla="*/ 133350 h 264319"/>
                <a:gd name="connsiteX4" fmla="*/ 697706 w 697706"/>
                <a:gd name="connsiteY4" fmla="*/ 264319 h 26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706" h="264319">
                  <a:moveTo>
                    <a:pt x="697706" y="264319"/>
                  </a:moveTo>
                  <a:cubicBezTo>
                    <a:pt x="696912" y="221457"/>
                    <a:pt x="696119" y="178594"/>
                    <a:pt x="695325" y="135732"/>
                  </a:cubicBezTo>
                  <a:lnTo>
                    <a:pt x="0" y="0"/>
                  </a:lnTo>
                  <a:cubicBezTo>
                    <a:pt x="794" y="44450"/>
                    <a:pt x="1587" y="88900"/>
                    <a:pt x="2381" y="133350"/>
                  </a:cubicBezTo>
                  <a:lnTo>
                    <a:pt x="697706" y="264319"/>
                  </a:lnTo>
                  <a:close/>
                </a:path>
              </a:pathLst>
            </a:custGeom>
            <a:solidFill>
              <a:srgbClr val="19751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15487" name="任意多边形 15486"/>
            <p:cNvSpPr/>
            <p:nvPr/>
          </p:nvSpPr>
          <p:spPr>
            <a:xfrm>
              <a:off x="5729288" y="5375651"/>
              <a:ext cx="604837" cy="257234"/>
            </a:xfrm>
            <a:custGeom>
              <a:avLst/>
              <a:gdLst>
                <a:gd name="connsiteX0" fmla="*/ 38100 w 604838"/>
                <a:gd name="connsiteY0" fmla="*/ 0 h 257175"/>
                <a:gd name="connsiteX1" fmla="*/ 604838 w 604838"/>
                <a:gd name="connsiteY1" fmla="*/ 119062 h 257175"/>
                <a:gd name="connsiteX2" fmla="*/ 581025 w 604838"/>
                <a:gd name="connsiteY2" fmla="*/ 197644 h 257175"/>
                <a:gd name="connsiteX3" fmla="*/ 578644 w 604838"/>
                <a:gd name="connsiteY3" fmla="*/ 254794 h 257175"/>
                <a:gd name="connsiteX4" fmla="*/ 173832 w 604838"/>
                <a:gd name="connsiteY4" fmla="*/ 257175 h 257175"/>
                <a:gd name="connsiteX5" fmla="*/ 130969 w 604838"/>
                <a:gd name="connsiteY5" fmla="*/ 97631 h 257175"/>
                <a:gd name="connsiteX6" fmla="*/ 21432 w 604838"/>
                <a:gd name="connsiteY6" fmla="*/ 100012 h 257175"/>
                <a:gd name="connsiteX7" fmla="*/ 0 w 604838"/>
                <a:gd name="connsiteY7" fmla="*/ 45244 h 257175"/>
                <a:gd name="connsiteX8" fmla="*/ 38100 w 604838"/>
                <a:gd name="connsiteY8"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4838" h="257175">
                  <a:moveTo>
                    <a:pt x="38100" y="0"/>
                  </a:moveTo>
                  <a:lnTo>
                    <a:pt x="604838" y="119062"/>
                  </a:lnTo>
                  <a:lnTo>
                    <a:pt x="581025" y="197644"/>
                  </a:lnTo>
                  <a:cubicBezTo>
                    <a:pt x="580231" y="216694"/>
                    <a:pt x="579438" y="235744"/>
                    <a:pt x="578644" y="254794"/>
                  </a:cubicBezTo>
                  <a:lnTo>
                    <a:pt x="173832" y="257175"/>
                  </a:lnTo>
                  <a:lnTo>
                    <a:pt x="130969" y="97631"/>
                  </a:lnTo>
                  <a:lnTo>
                    <a:pt x="21432" y="100012"/>
                  </a:lnTo>
                  <a:lnTo>
                    <a:pt x="0" y="45244"/>
                  </a:lnTo>
                  <a:lnTo>
                    <a:pt x="38100" y="0"/>
                  </a:lnTo>
                  <a:close/>
                </a:path>
              </a:pathLst>
            </a:custGeom>
            <a:solidFill>
              <a:srgbClr val="19751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sp>
        <p:nvSpPr>
          <p:cNvPr id="130" name="Freeform 107"/>
          <p:cNvSpPr/>
          <p:nvPr/>
        </p:nvSpPr>
        <p:spPr bwMode="auto">
          <a:xfrm flipH="1">
            <a:off x="723265" y="1730375"/>
            <a:ext cx="3971925" cy="4607560"/>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txBody>
          <a:bodyPr/>
          <a:lstStyle/>
          <a:p>
            <a:pPr fontAlgn="auto"/>
            <a:endParaRPr lang="zh-CN" altLang="en-US" noProof="1"/>
          </a:p>
        </p:txBody>
      </p:sp>
      <p:sp>
        <p:nvSpPr>
          <p:cNvPr id="28" name="等腰三角形 27"/>
          <p:cNvSpPr>
            <a:spLocks noChangeArrowheads="1"/>
          </p:cNvSpPr>
          <p:nvPr/>
        </p:nvSpPr>
        <p:spPr bwMode="auto">
          <a:xfrm rot="9233090">
            <a:off x="11153775" y="6661150"/>
            <a:ext cx="122238" cy="104775"/>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29" name="等腰三角形 28"/>
          <p:cNvSpPr>
            <a:spLocks noChangeArrowheads="1"/>
          </p:cNvSpPr>
          <p:nvPr/>
        </p:nvSpPr>
        <p:spPr bwMode="auto">
          <a:xfrm rot="-6030424">
            <a:off x="10913269" y="6634956"/>
            <a:ext cx="180975" cy="157163"/>
          </a:xfrm>
          <a:prstGeom prst="triangle">
            <a:avLst>
              <a:gd name="adj" fmla="val 50000"/>
            </a:avLst>
          </a:prstGeom>
          <a:solidFill>
            <a:srgbClr val="309030"/>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0" name="等腰三角形 29"/>
          <p:cNvSpPr>
            <a:spLocks noChangeArrowheads="1"/>
          </p:cNvSpPr>
          <p:nvPr/>
        </p:nvSpPr>
        <p:spPr bwMode="auto">
          <a:xfrm rot="-228606">
            <a:off x="11368088" y="6643688"/>
            <a:ext cx="122237" cy="104775"/>
          </a:xfrm>
          <a:prstGeom prst="triangle">
            <a:avLst>
              <a:gd name="adj" fmla="val 50000"/>
            </a:avLst>
          </a:prstGeom>
          <a:solidFill>
            <a:srgbClr val="2B7E2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1" name="等腰三角形 30"/>
          <p:cNvSpPr>
            <a:spLocks noChangeArrowheads="1"/>
          </p:cNvSpPr>
          <p:nvPr/>
        </p:nvSpPr>
        <p:spPr bwMode="auto">
          <a:xfrm rot="-3389783">
            <a:off x="11107738" y="6572250"/>
            <a:ext cx="58737" cy="49213"/>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2" name="等腰三角形 31"/>
          <p:cNvSpPr>
            <a:spLocks noChangeArrowheads="1"/>
          </p:cNvSpPr>
          <p:nvPr/>
        </p:nvSpPr>
        <p:spPr bwMode="auto">
          <a:xfrm rot="8748521">
            <a:off x="11296650" y="6657975"/>
            <a:ext cx="58738" cy="49213"/>
          </a:xfrm>
          <a:prstGeom prst="triangle">
            <a:avLst>
              <a:gd name="adj" fmla="val 50000"/>
            </a:avLst>
          </a:prstGeom>
          <a:solidFill>
            <a:srgbClr val="559551"/>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22" name="矩形 21"/>
          <p:cNvSpPr>
            <a:spLocks noChangeArrowheads="1"/>
          </p:cNvSpPr>
          <p:nvPr/>
        </p:nvSpPr>
        <p:spPr bwMode="auto">
          <a:xfrm>
            <a:off x="1113790" y="2437130"/>
            <a:ext cx="3277235" cy="2369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1450" indent="-171450" algn="l" eaLnBrk="1" latinLnBrk="0" hangingPunct="1">
              <a:lnSpc>
                <a:spcPct val="100000"/>
              </a:lnSpc>
              <a:spcBef>
                <a:spcPts val="600"/>
              </a:spcBef>
              <a:spcAft>
                <a:spcPts val="600"/>
              </a:spcAft>
              <a:buFont typeface="Arial" panose="020B0604020202020204" pitchFamily="34" charset="0"/>
              <a:buChar char="•"/>
            </a:pPr>
            <a:r>
              <a:rPr lang="en-US" altLang="zh-CN" sz="1600" dirty="0">
                <a:latin typeface="Calibri" panose="020F0502020204030204" pitchFamily="34" charset="0"/>
                <a:cs typeface="Calibri" panose="020F0502020204030204" pitchFamily="34" charset="0"/>
              </a:rPr>
              <a:t>B</a:t>
            </a:r>
            <a:r>
              <a:rPr lang="zh-CN" altLang="en-US" sz="1600" dirty="0">
                <a:uFillTx/>
                <a:latin typeface="Calibri" panose="020F0502020204030204" pitchFamily="34" charset="0"/>
                <a:cs typeface="Calibri" panose="020F0502020204030204" pitchFamily="34" charset="0"/>
              </a:rPr>
              <a:t>e fully aware of the conditions, challenges and issues prevailing in specific the sector and the region.</a:t>
            </a:r>
          </a:p>
          <a:p>
            <a:pPr marL="171450" indent="-171450" algn="l" eaLnBrk="1" latinLnBrk="0" hangingPunct="1">
              <a:lnSpc>
                <a:spcPct val="100000"/>
              </a:lnSpc>
              <a:spcBef>
                <a:spcPts val="600"/>
              </a:spcBef>
              <a:spcAft>
                <a:spcPts val="600"/>
              </a:spcAft>
              <a:buFont typeface="Arial" panose="020B0604020202020204" pitchFamily="34" charset="0"/>
              <a:buChar char="•"/>
            </a:pPr>
            <a:r>
              <a:rPr lang="en-US" altLang="zh-CN" sz="1600" dirty="0">
                <a:latin typeface="Calibri" panose="020F0502020204030204" pitchFamily="34" charset="0"/>
                <a:cs typeface="Calibri" panose="020F0502020204030204" pitchFamily="34" charset="0"/>
              </a:rPr>
              <a:t>D</a:t>
            </a:r>
            <a:r>
              <a:rPr lang="zh-CN" altLang="en-US" sz="1600" dirty="0">
                <a:uFillTx/>
                <a:latin typeface="Calibri" panose="020F0502020204030204" pitchFamily="34" charset="0"/>
                <a:cs typeface="Calibri" panose="020F0502020204030204" pitchFamily="34" charset="0"/>
              </a:rPr>
              <a:t>etailed awareness and understanding of legislation and regulat</a:t>
            </a:r>
            <a:r>
              <a:rPr lang="en-US" altLang="zh-CN" sz="1600" dirty="0">
                <a:uFillTx/>
                <a:latin typeface="Calibri" panose="020F0502020204030204" pitchFamily="34" charset="0"/>
                <a:cs typeface="Calibri" panose="020F0502020204030204" pitchFamily="34" charset="0"/>
              </a:rPr>
              <a:t>ions</a:t>
            </a:r>
            <a:r>
              <a:rPr lang="zh-CN" altLang="en-US" sz="1600" dirty="0">
                <a:uFillTx/>
                <a:latin typeface="Calibri" panose="020F0502020204030204" pitchFamily="34" charset="0"/>
                <a:cs typeface="Calibri" panose="020F0502020204030204" pitchFamily="34" charset="0"/>
              </a:rPr>
              <a:t> </a:t>
            </a:r>
          </a:p>
          <a:p>
            <a:pPr marL="171450" indent="-171450" algn="l" eaLnBrk="1" latinLnBrk="0" hangingPunct="1">
              <a:lnSpc>
                <a:spcPct val="100000"/>
              </a:lnSpc>
              <a:spcBef>
                <a:spcPts val="600"/>
              </a:spcBef>
              <a:spcAft>
                <a:spcPts val="600"/>
              </a:spcAft>
              <a:buFont typeface="Arial" panose="020B0604020202020204" pitchFamily="34" charset="0"/>
              <a:buChar char="•"/>
            </a:pPr>
            <a:r>
              <a:rPr lang="en-US" altLang="zh-CN" sz="1600" dirty="0">
                <a:latin typeface="Calibri" panose="020F0502020204030204" pitchFamily="34" charset="0"/>
                <a:cs typeface="Calibri" panose="020F0502020204030204" pitchFamily="34" charset="0"/>
              </a:rPr>
              <a:t>K</a:t>
            </a:r>
            <a:r>
              <a:rPr lang="zh-CN" altLang="en-US" sz="1600" dirty="0">
                <a:uFillTx/>
                <a:latin typeface="Calibri" panose="020F0502020204030204" pitchFamily="34" charset="0"/>
                <a:cs typeface="Calibri" panose="020F0502020204030204" pitchFamily="34" charset="0"/>
              </a:rPr>
              <a:t>nowledge of what constitutes </a:t>
            </a:r>
            <a:r>
              <a:rPr lang="en-US" altLang="zh-CN" sz="1600" dirty="0">
                <a:uFillTx/>
                <a:latin typeface="Calibri" panose="020F0502020204030204" pitchFamily="34" charset="0"/>
                <a:cs typeface="Calibri" panose="020F0502020204030204" pitchFamily="34" charset="0"/>
              </a:rPr>
              <a:t>the </a:t>
            </a:r>
            <a:r>
              <a:rPr lang="zh-CN" altLang="en-US" sz="1600" dirty="0">
                <a:uFillTx/>
                <a:latin typeface="Calibri" panose="020F0502020204030204" pitchFamily="34" charset="0"/>
                <a:cs typeface="Calibri" panose="020F0502020204030204" pitchFamily="34" charset="0"/>
              </a:rPr>
              <a:t>best practice in the sector</a:t>
            </a:r>
          </a:p>
        </p:txBody>
      </p:sp>
      <p:sp>
        <p:nvSpPr>
          <p:cNvPr id="3" name="矩形 2"/>
          <p:cNvSpPr>
            <a:spLocks noChangeArrowheads="1"/>
          </p:cNvSpPr>
          <p:nvPr/>
        </p:nvSpPr>
        <p:spPr bwMode="auto">
          <a:xfrm>
            <a:off x="1189673" y="1845945"/>
            <a:ext cx="282936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zh-CN" sz="2400" b="1" dirty="0">
                <a:latin typeface="Calibri" panose="020F0502020204030204" pitchFamily="34" charset="0"/>
                <a:cs typeface="Calibri" panose="020F0502020204030204" pitchFamily="34" charset="0"/>
              </a:rPr>
              <a:t>Auditor/Audit Team</a:t>
            </a:r>
          </a:p>
        </p:txBody>
      </p:sp>
      <p:sp>
        <p:nvSpPr>
          <p:cNvPr id="40" name="等腰三角形 39"/>
          <p:cNvSpPr>
            <a:spLocks noChangeArrowheads="1"/>
          </p:cNvSpPr>
          <p:nvPr/>
        </p:nvSpPr>
        <p:spPr bwMode="auto">
          <a:xfrm>
            <a:off x="196850" y="360363"/>
            <a:ext cx="563563" cy="485775"/>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1" name="等腰三角形 40"/>
          <p:cNvSpPr>
            <a:spLocks noChangeArrowheads="1"/>
          </p:cNvSpPr>
          <p:nvPr/>
        </p:nvSpPr>
        <p:spPr bwMode="auto">
          <a:xfrm>
            <a:off x="760413" y="696913"/>
            <a:ext cx="265112" cy="228600"/>
          </a:xfrm>
          <a:prstGeom prst="triangle">
            <a:avLst>
              <a:gd name="adj" fmla="val 50000"/>
            </a:avLst>
          </a:prstGeom>
          <a:solidFill>
            <a:srgbClr val="197519">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2" name="等腰三角形 41"/>
          <p:cNvSpPr>
            <a:spLocks noChangeArrowheads="1"/>
          </p:cNvSpPr>
          <p:nvPr/>
        </p:nvSpPr>
        <p:spPr bwMode="auto">
          <a:xfrm flipH="1">
            <a:off x="630238" y="469900"/>
            <a:ext cx="85725" cy="74613"/>
          </a:xfrm>
          <a:prstGeom prst="triangle">
            <a:avLst>
              <a:gd name="adj" fmla="val 50000"/>
            </a:avLst>
          </a:prstGeom>
          <a:solidFill>
            <a:srgbClr val="197519">
              <a:alpha val="46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3" name="等腰三角形 42"/>
          <p:cNvSpPr>
            <a:spLocks noChangeArrowheads="1"/>
          </p:cNvSpPr>
          <p:nvPr/>
        </p:nvSpPr>
        <p:spPr bwMode="auto">
          <a:xfrm>
            <a:off x="833438" y="490538"/>
            <a:ext cx="177800" cy="152400"/>
          </a:xfrm>
          <a:prstGeom prst="triangle">
            <a:avLst>
              <a:gd name="adj" fmla="val 50000"/>
            </a:avLst>
          </a:prstGeom>
          <a:solidFill>
            <a:srgbClr val="197519">
              <a:alpha val="71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 name="矩形 1"/>
          <p:cNvSpPr>
            <a:spLocks noChangeArrowheads="1"/>
          </p:cNvSpPr>
          <p:nvPr/>
        </p:nvSpPr>
        <p:spPr bwMode="auto">
          <a:xfrm>
            <a:off x="1084797" y="429488"/>
            <a:ext cx="5550535" cy="58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altLang="zh-CN" sz="3200" b="1" dirty="0">
                <a:solidFill>
                  <a:srgbClr val="197519"/>
                </a:solidFill>
                <a:latin typeface="Calibri" panose="020F0502020204030204" pitchFamily="34" charset="0"/>
                <a:cs typeface="Calibri" panose="020F0502020204030204" pitchFamily="34" charset="0"/>
              </a:rPr>
              <a:t>Sustainability Audit Preparation</a:t>
            </a:r>
          </a:p>
        </p:txBody>
      </p:sp>
      <p:sp>
        <p:nvSpPr>
          <p:cNvPr id="5" name="Freeform 99"/>
          <p:cNvSpPr>
            <a:spLocks noChangeArrowheads="1"/>
          </p:cNvSpPr>
          <p:nvPr/>
        </p:nvSpPr>
        <p:spPr bwMode="auto">
          <a:xfrm>
            <a:off x="7494588" y="2089150"/>
            <a:ext cx="1127125" cy="931863"/>
          </a:xfrm>
          <a:custGeom>
            <a:avLst/>
            <a:gdLst>
              <a:gd name="T0" fmla="*/ 142 w 710"/>
              <a:gd name="T1" fmla="*/ 587 h 587"/>
              <a:gd name="T2" fmla="*/ 710 w 710"/>
              <a:gd name="T3" fmla="*/ 587 h 587"/>
              <a:gd name="T4" fmla="*/ 710 w 710"/>
              <a:gd name="T5" fmla="*/ 0 h 587"/>
              <a:gd name="T6" fmla="*/ 142 w 710"/>
              <a:gd name="T7" fmla="*/ 0 h 587"/>
              <a:gd name="T8" fmla="*/ 0 w 710"/>
              <a:gd name="T9" fmla="*/ 293 h 587"/>
              <a:gd name="T10" fmla="*/ 142 w 710"/>
              <a:gd name="T11" fmla="*/ 587 h 587"/>
            </a:gdLst>
            <a:ahLst/>
            <a:cxnLst>
              <a:cxn ang="0">
                <a:pos x="T0" y="T1"/>
              </a:cxn>
              <a:cxn ang="0">
                <a:pos x="T2" y="T3"/>
              </a:cxn>
              <a:cxn ang="0">
                <a:pos x="T4" y="T5"/>
              </a:cxn>
              <a:cxn ang="0">
                <a:pos x="T6" y="T7"/>
              </a:cxn>
              <a:cxn ang="0">
                <a:pos x="T8" y="T9"/>
              </a:cxn>
              <a:cxn ang="0">
                <a:pos x="T10" y="T11"/>
              </a:cxn>
            </a:cxnLst>
            <a:rect l="0" t="0" r="r" b="b"/>
            <a:pathLst>
              <a:path w="710" h="587">
                <a:moveTo>
                  <a:pt x="142" y="587"/>
                </a:moveTo>
                <a:lnTo>
                  <a:pt x="710" y="587"/>
                </a:lnTo>
                <a:lnTo>
                  <a:pt x="710" y="0"/>
                </a:lnTo>
                <a:lnTo>
                  <a:pt x="142" y="0"/>
                </a:lnTo>
                <a:lnTo>
                  <a:pt x="0" y="293"/>
                </a:lnTo>
                <a:lnTo>
                  <a:pt x="142" y="5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 name="Freeform 107"/>
          <p:cNvSpPr/>
          <p:nvPr/>
        </p:nvSpPr>
        <p:spPr bwMode="auto">
          <a:xfrm flipH="1">
            <a:off x="7527290" y="1730375"/>
            <a:ext cx="3971925" cy="4607560"/>
          </a:xfrm>
          <a:prstGeom prst="roundRect">
            <a:avLst/>
          </a:prstGeom>
          <a:solidFill>
            <a:schemeClr val="accent1">
              <a:lumMod val="60000"/>
              <a:lumOff val="40000"/>
            </a:schemeClr>
          </a:solidFill>
          <a:ln>
            <a:noFill/>
          </a:ln>
          <a:effectLst>
            <a:outerShdw blurRad="50800" dist="38100" dir="2700000" algn="tl" rotWithShape="0">
              <a:prstClr val="black">
                <a:alpha val="40000"/>
              </a:prstClr>
            </a:outerShdw>
          </a:effectLst>
        </p:spPr>
        <p:txBody>
          <a:bodyPr/>
          <a:lstStyle/>
          <a:p>
            <a:pPr fontAlgn="auto"/>
            <a:endParaRPr lang="zh-CN" altLang="en-US" noProof="1"/>
          </a:p>
        </p:txBody>
      </p:sp>
      <p:sp>
        <p:nvSpPr>
          <p:cNvPr id="7" name="矩形 6"/>
          <p:cNvSpPr>
            <a:spLocks noChangeArrowheads="1"/>
          </p:cNvSpPr>
          <p:nvPr/>
        </p:nvSpPr>
        <p:spPr bwMode="auto">
          <a:xfrm>
            <a:off x="7917815" y="2437130"/>
            <a:ext cx="3277235" cy="3661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1450" indent="-171450" algn="l" eaLnBrk="1" latinLnBrk="0" hangingPunct="1">
              <a:lnSpc>
                <a:spcPct val="100000"/>
              </a:lnSpc>
              <a:spcBef>
                <a:spcPts val="600"/>
              </a:spcBef>
              <a:spcAft>
                <a:spcPts val="600"/>
              </a:spcAft>
              <a:buFont typeface="Arial" panose="020B0604020202020204" pitchFamily="34" charset="0"/>
              <a:buChar char="•"/>
            </a:pPr>
            <a:r>
              <a:rPr lang="zh-CN" altLang="en-US" sz="1600" dirty="0">
                <a:uFillTx/>
                <a:latin typeface="Calibri" panose="020F0502020204030204" pitchFamily="34" charset="0"/>
                <a:cs typeface="Calibri" panose="020F0502020204030204" pitchFamily="34" charset="0"/>
              </a:rPr>
              <a:t>Confirmation of receipt of the Self-Assessment Questionnaire.</a:t>
            </a:r>
          </a:p>
          <a:p>
            <a:pPr marL="171450" indent="-171450" algn="l" eaLnBrk="1" latinLnBrk="0" hangingPunct="1">
              <a:lnSpc>
                <a:spcPct val="100000"/>
              </a:lnSpc>
              <a:spcBef>
                <a:spcPts val="600"/>
              </a:spcBef>
              <a:spcAft>
                <a:spcPts val="600"/>
              </a:spcAft>
              <a:buFont typeface="Arial" panose="020B0604020202020204" pitchFamily="34" charset="0"/>
              <a:buChar char="•"/>
            </a:pPr>
            <a:r>
              <a:rPr lang="zh-CN" altLang="en-US" sz="1600" dirty="0">
                <a:uFillTx/>
                <a:latin typeface="Calibri" panose="020F0502020204030204" pitchFamily="34" charset="0"/>
                <a:cs typeface="Calibri" panose="020F0502020204030204" pitchFamily="34" charset="0"/>
              </a:rPr>
              <a:t>Information about the basis on which the supplier is being audited </a:t>
            </a:r>
          </a:p>
          <a:p>
            <a:pPr marL="171450" indent="-171450" algn="l" eaLnBrk="1" latinLnBrk="0" hangingPunct="1">
              <a:lnSpc>
                <a:spcPct val="100000"/>
              </a:lnSpc>
              <a:spcBef>
                <a:spcPts val="600"/>
              </a:spcBef>
              <a:spcAft>
                <a:spcPts val="600"/>
              </a:spcAft>
              <a:buFont typeface="Arial" panose="020B0604020202020204" pitchFamily="34" charset="0"/>
              <a:buChar char="•"/>
            </a:pPr>
            <a:r>
              <a:rPr lang="zh-CN" altLang="en-US" sz="1600" dirty="0">
                <a:uFillTx/>
                <a:latin typeface="Calibri" panose="020F0502020204030204" pitchFamily="34" charset="0"/>
                <a:cs typeface="Calibri" panose="020F0502020204030204" pitchFamily="34" charset="0"/>
              </a:rPr>
              <a:t>The audit agenda </a:t>
            </a:r>
            <a:r>
              <a:rPr lang="en-US" altLang="zh-CN" sz="1600" dirty="0">
                <a:uFillTx/>
                <a:latin typeface="Calibri" panose="020F0502020204030204" pitchFamily="34" charset="0"/>
                <a:cs typeface="Calibri" panose="020F0502020204030204" pitchFamily="34" charset="0"/>
              </a:rPr>
              <a:t>(</a:t>
            </a:r>
            <a:r>
              <a:rPr lang="zh-CN" altLang="en-US" sz="1600" dirty="0">
                <a:uFillTx/>
                <a:latin typeface="Calibri" panose="020F0502020204030204" pitchFamily="34" charset="0"/>
                <a:cs typeface="Calibri" panose="020F0502020204030204" pitchFamily="34" charset="0"/>
              </a:rPr>
              <a:t>timetable, topics to be covered, and key personnel invited</a:t>
            </a:r>
            <a:r>
              <a:rPr lang="en-US" altLang="zh-CN" sz="1600" dirty="0">
                <a:uFillTx/>
                <a:latin typeface="Calibri" panose="020F0502020204030204" pitchFamily="34" charset="0"/>
                <a:cs typeface="Calibri" panose="020F0502020204030204" pitchFamily="34" charset="0"/>
              </a:rPr>
              <a:t>)</a:t>
            </a:r>
            <a:endParaRPr lang="zh-CN" altLang="en-US" sz="1600" dirty="0">
              <a:uFillTx/>
              <a:latin typeface="Calibri" panose="020F0502020204030204" pitchFamily="34" charset="0"/>
              <a:cs typeface="Calibri" panose="020F0502020204030204" pitchFamily="34" charset="0"/>
            </a:endParaRPr>
          </a:p>
          <a:p>
            <a:pPr marL="171450" indent="-171450" algn="l" eaLnBrk="1" latinLnBrk="0" hangingPunct="1">
              <a:lnSpc>
                <a:spcPct val="100000"/>
              </a:lnSpc>
              <a:spcBef>
                <a:spcPts val="600"/>
              </a:spcBef>
              <a:spcAft>
                <a:spcPts val="600"/>
              </a:spcAft>
              <a:buFont typeface="Arial" panose="020B0604020202020204" pitchFamily="34" charset="0"/>
              <a:buChar char="•"/>
            </a:pPr>
            <a:r>
              <a:rPr lang="zh-CN" altLang="en-US" sz="1600" dirty="0">
                <a:uFillTx/>
                <a:latin typeface="Calibri" panose="020F0502020204030204" pitchFamily="34" charset="0"/>
                <a:cs typeface="Calibri" panose="020F0502020204030204" pitchFamily="34" charset="0"/>
              </a:rPr>
              <a:t>List of documents that the supplier will need to make available</a:t>
            </a:r>
          </a:p>
          <a:p>
            <a:pPr marL="171450" indent="-171450" algn="l" eaLnBrk="1" latinLnBrk="0" hangingPunct="1">
              <a:lnSpc>
                <a:spcPct val="100000"/>
              </a:lnSpc>
              <a:spcBef>
                <a:spcPts val="600"/>
              </a:spcBef>
              <a:spcAft>
                <a:spcPts val="600"/>
              </a:spcAft>
              <a:buFont typeface="Arial" panose="020B0604020202020204" pitchFamily="34" charset="0"/>
              <a:buChar char="•"/>
            </a:pPr>
            <a:r>
              <a:rPr lang="zh-CN" altLang="en-US" sz="1600" dirty="0">
                <a:uFillTx/>
                <a:latin typeface="Calibri" panose="020F0502020204030204" pitchFamily="34" charset="0"/>
                <a:cs typeface="Calibri" panose="020F0502020204030204" pitchFamily="34" charset="0"/>
              </a:rPr>
              <a:t>Confirmation of the site-tour arrangement regarding safety and personal protection</a:t>
            </a:r>
          </a:p>
        </p:txBody>
      </p:sp>
      <p:sp>
        <p:nvSpPr>
          <p:cNvPr id="8" name="矩形 7"/>
          <p:cNvSpPr>
            <a:spLocks noChangeArrowheads="1"/>
          </p:cNvSpPr>
          <p:nvPr/>
        </p:nvSpPr>
        <p:spPr bwMode="auto">
          <a:xfrm>
            <a:off x="7647623" y="1845945"/>
            <a:ext cx="369189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r>
              <a:rPr lang="en-US" altLang="zh-CN" sz="2400" b="1" dirty="0">
                <a:latin typeface="Calibri" panose="020F0502020204030204" pitchFamily="34" charset="0"/>
                <a:cs typeface="Calibri" panose="020F0502020204030204" pitchFamily="34" charset="0"/>
              </a:rPr>
              <a:t>Communicate with Supplier</a:t>
            </a:r>
          </a:p>
        </p:txBody>
      </p:sp>
    </p:spTree>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cxnSp>
        <p:nvCxnSpPr>
          <p:cNvPr id="11" name="直接连接符 46"/>
          <p:cNvCxnSpPr>
            <a:stCxn id="77" idx="4"/>
            <a:endCxn id="22" idx="0"/>
          </p:cNvCxnSpPr>
          <p:nvPr>
            <p:custDataLst>
              <p:tags r:id="rId2"/>
            </p:custDataLst>
          </p:nvPr>
        </p:nvCxnSpPr>
        <p:spPr>
          <a:xfrm flipH="1" flipV="1">
            <a:off x="6069886" y="1339334"/>
            <a:ext cx="6985" cy="5125720"/>
          </a:xfrm>
          <a:prstGeom prst="line">
            <a:avLst/>
          </a:prstGeom>
          <a:ln>
            <a:solidFill>
              <a:srgbClr val="B2B2B2"/>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等腰三角形 27"/>
          <p:cNvSpPr>
            <a:spLocks noChangeArrowheads="1"/>
          </p:cNvSpPr>
          <p:nvPr/>
        </p:nvSpPr>
        <p:spPr bwMode="auto">
          <a:xfrm rot="9233090">
            <a:off x="11153775" y="6661150"/>
            <a:ext cx="122238" cy="104775"/>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29" name="等腰三角形 28"/>
          <p:cNvSpPr>
            <a:spLocks noChangeArrowheads="1"/>
          </p:cNvSpPr>
          <p:nvPr/>
        </p:nvSpPr>
        <p:spPr bwMode="auto">
          <a:xfrm rot="-6030424">
            <a:off x="10913269" y="6634956"/>
            <a:ext cx="180975" cy="157163"/>
          </a:xfrm>
          <a:prstGeom prst="triangle">
            <a:avLst>
              <a:gd name="adj" fmla="val 50000"/>
            </a:avLst>
          </a:prstGeom>
          <a:solidFill>
            <a:srgbClr val="309030"/>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30" name="等腰三角形 29"/>
          <p:cNvSpPr>
            <a:spLocks noChangeArrowheads="1"/>
          </p:cNvSpPr>
          <p:nvPr/>
        </p:nvSpPr>
        <p:spPr bwMode="auto">
          <a:xfrm rot="-228606">
            <a:off x="11368088" y="6643688"/>
            <a:ext cx="122237" cy="104775"/>
          </a:xfrm>
          <a:prstGeom prst="triangle">
            <a:avLst>
              <a:gd name="adj" fmla="val 50000"/>
            </a:avLst>
          </a:prstGeom>
          <a:solidFill>
            <a:srgbClr val="2B7E2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31" name="等腰三角形 30"/>
          <p:cNvSpPr>
            <a:spLocks noChangeArrowheads="1"/>
          </p:cNvSpPr>
          <p:nvPr/>
        </p:nvSpPr>
        <p:spPr bwMode="auto">
          <a:xfrm rot="-3389783">
            <a:off x="11107738" y="6572250"/>
            <a:ext cx="58737" cy="49213"/>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32" name="等腰三角形 31"/>
          <p:cNvSpPr>
            <a:spLocks noChangeArrowheads="1"/>
          </p:cNvSpPr>
          <p:nvPr/>
        </p:nvSpPr>
        <p:spPr bwMode="auto">
          <a:xfrm rot="8748521">
            <a:off x="11296650" y="6657975"/>
            <a:ext cx="58738" cy="49213"/>
          </a:xfrm>
          <a:prstGeom prst="triangle">
            <a:avLst>
              <a:gd name="adj" fmla="val 50000"/>
            </a:avLst>
          </a:prstGeom>
          <a:solidFill>
            <a:srgbClr val="559551"/>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40" name="等腰三角形 39"/>
          <p:cNvSpPr>
            <a:spLocks noChangeArrowheads="1"/>
          </p:cNvSpPr>
          <p:nvPr/>
        </p:nvSpPr>
        <p:spPr bwMode="auto">
          <a:xfrm>
            <a:off x="196850" y="360363"/>
            <a:ext cx="563563" cy="485775"/>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sp>
        <p:nvSpPr>
          <p:cNvPr id="41" name="等腰三角形 40"/>
          <p:cNvSpPr>
            <a:spLocks noChangeArrowheads="1"/>
          </p:cNvSpPr>
          <p:nvPr/>
        </p:nvSpPr>
        <p:spPr bwMode="auto">
          <a:xfrm>
            <a:off x="760413" y="696913"/>
            <a:ext cx="265112" cy="228600"/>
          </a:xfrm>
          <a:prstGeom prst="triangle">
            <a:avLst>
              <a:gd name="adj" fmla="val 50000"/>
            </a:avLst>
          </a:prstGeom>
          <a:solidFill>
            <a:srgbClr val="197519">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sp>
        <p:nvSpPr>
          <p:cNvPr id="42" name="等腰三角形 41"/>
          <p:cNvSpPr>
            <a:spLocks noChangeArrowheads="1"/>
          </p:cNvSpPr>
          <p:nvPr/>
        </p:nvSpPr>
        <p:spPr bwMode="auto">
          <a:xfrm flipH="1">
            <a:off x="630238" y="469900"/>
            <a:ext cx="85725" cy="74613"/>
          </a:xfrm>
          <a:prstGeom prst="triangle">
            <a:avLst>
              <a:gd name="adj" fmla="val 50000"/>
            </a:avLst>
          </a:prstGeom>
          <a:solidFill>
            <a:srgbClr val="197519">
              <a:alpha val="46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sp>
        <p:nvSpPr>
          <p:cNvPr id="43" name="等腰三角形 42"/>
          <p:cNvSpPr>
            <a:spLocks noChangeArrowheads="1"/>
          </p:cNvSpPr>
          <p:nvPr/>
        </p:nvSpPr>
        <p:spPr bwMode="auto">
          <a:xfrm>
            <a:off x="833438" y="490538"/>
            <a:ext cx="177800" cy="152400"/>
          </a:xfrm>
          <a:prstGeom prst="triangle">
            <a:avLst>
              <a:gd name="adj" fmla="val 50000"/>
            </a:avLst>
          </a:prstGeom>
          <a:solidFill>
            <a:srgbClr val="197519">
              <a:alpha val="71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sp>
        <p:nvSpPr>
          <p:cNvPr id="2" name="矩形 1"/>
          <p:cNvSpPr>
            <a:spLocks noChangeArrowheads="1"/>
          </p:cNvSpPr>
          <p:nvPr/>
        </p:nvSpPr>
        <p:spPr bwMode="auto">
          <a:xfrm>
            <a:off x="1129030" y="403860"/>
            <a:ext cx="5728970" cy="58356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a:spAutoFit/>
          </a:bodyPr>
          <a:lstStyle/>
          <a:p>
            <a:pPr lvl="0">
              <a:buClrTx/>
              <a:buSzTx/>
              <a:buFontTx/>
            </a:pPr>
            <a:r>
              <a:rPr lang="en-US" altLang="zh-CN" sz="3200" b="1" dirty="0">
                <a:solidFill>
                  <a:srgbClr val="197519"/>
                </a:solidFill>
                <a:latin typeface="Calibri" panose="020F0502020204030204" pitchFamily="34" charset="0"/>
                <a:cs typeface="Calibri" panose="020F0502020204030204" pitchFamily="34" charset="0"/>
                <a:sym typeface="+mn-ea"/>
              </a:rPr>
              <a:t>Sustainability Audit Execution</a:t>
            </a:r>
          </a:p>
        </p:txBody>
      </p:sp>
      <p:grpSp>
        <p:nvGrpSpPr>
          <p:cNvPr id="3" name="组合 17"/>
          <p:cNvGrpSpPr/>
          <p:nvPr>
            <p:custDataLst>
              <p:tags r:id="rId3"/>
            </p:custDataLst>
          </p:nvPr>
        </p:nvGrpSpPr>
        <p:grpSpPr>
          <a:xfrm>
            <a:off x="3395895" y="1137389"/>
            <a:ext cx="2926164" cy="763467"/>
            <a:chOff x="2332145" y="1627869"/>
            <a:chExt cx="2458470" cy="641441"/>
          </a:xfrm>
        </p:grpSpPr>
        <p:sp>
          <p:nvSpPr>
            <p:cNvPr id="5" name="椭圆 12"/>
            <p:cNvSpPr/>
            <p:nvPr>
              <p:custDataLst>
                <p:tags r:id="rId29"/>
              </p:custDataLst>
            </p:nvPr>
          </p:nvSpPr>
          <p:spPr>
            <a:xfrm>
              <a:off x="4366938" y="1746419"/>
              <a:ext cx="423677" cy="423677"/>
            </a:xfrm>
            <a:prstGeom prst="ellipse">
              <a:avLst/>
            </a:prstGeom>
            <a:solidFill>
              <a:schemeClr val="accent1"/>
            </a:solidFill>
            <a:ln w="38100">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p>
          </p:txBody>
        </p:sp>
        <p:sp>
          <p:nvSpPr>
            <p:cNvPr id="6" name="任意多边形 18"/>
            <p:cNvSpPr/>
            <p:nvPr>
              <p:custDataLst>
                <p:tags r:id="rId30"/>
              </p:custDataLst>
            </p:nvPr>
          </p:nvSpPr>
          <p:spPr>
            <a:xfrm>
              <a:off x="2332145" y="1627869"/>
              <a:ext cx="1787550" cy="634374"/>
            </a:xfrm>
            <a:custGeom>
              <a:avLst/>
              <a:gdLst>
                <a:gd name="connsiteX0" fmla="*/ 60128 w 1651000"/>
                <a:gd name="connsiteY0" fmla="*/ 0 h 722694"/>
                <a:gd name="connsiteX1" fmla="*/ 1463872 w 1651000"/>
                <a:gd name="connsiteY1" fmla="*/ 0 h 722694"/>
                <a:gd name="connsiteX2" fmla="*/ 1524000 w 1651000"/>
                <a:gd name="connsiteY2" fmla="*/ 60128 h 722694"/>
                <a:gd name="connsiteX3" fmla="*/ 1524000 w 1651000"/>
                <a:gd name="connsiteY3" fmla="*/ 247477 h 722694"/>
                <a:gd name="connsiteX4" fmla="*/ 1651000 w 1651000"/>
                <a:gd name="connsiteY4" fmla="*/ 361348 h 722694"/>
                <a:gd name="connsiteX5" fmla="*/ 1524000 w 1651000"/>
                <a:gd name="connsiteY5" fmla="*/ 475220 h 722694"/>
                <a:gd name="connsiteX6" fmla="*/ 1524000 w 1651000"/>
                <a:gd name="connsiteY6" fmla="*/ 662566 h 722694"/>
                <a:gd name="connsiteX7" fmla="*/ 1463872 w 1651000"/>
                <a:gd name="connsiteY7" fmla="*/ 722694 h 722694"/>
                <a:gd name="connsiteX8" fmla="*/ 60128 w 1651000"/>
                <a:gd name="connsiteY8" fmla="*/ 722694 h 722694"/>
                <a:gd name="connsiteX9" fmla="*/ 0 w 1651000"/>
                <a:gd name="connsiteY9" fmla="*/ 662566 h 722694"/>
                <a:gd name="connsiteX10" fmla="*/ 0 w 1651000"/>
                <a:gd name="connsiteY10" fmla="*/ 60128 h 722694"/>
                <a:gd name="connsiteX11" fmla="*/ 60128 w 1651000"/>
                <a:gd name="connsiteY11" fmla="*/ 0 h 7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1000" h="722694">
                  <a:moveTo>
                    <a:pt x="60128" y="0"/>
                  </a:moveTo>
                  <a:lnTo>
                    <a:pt x="1463872" y="0"/>
                  </a:lnTo>
                  <a:cubicBezTo>
                    <a:pt x="1497080" y="0"/>
                    <a:pt x="1524000" y="26920"/>
                    <a:pt x="1524000" y="60128"/>
                  </a:cubicBezTo>
                  <a:lnTo>
                    <a:pt x="1524000" y="247477"/>
                  </a:lnTo>
                  <a:lnTo>
                    <a:pt x="1651000" y="361348"/>
                  </a:lnTo>
                  <a:lnTo>
                    <a:pt x="1524000" y="475220"/>
                  </a:lnTo>
                  <a:lnTo>
                    <a:pt x="1524000" y="662566"/>
                  </a:lnTo>
                  <a:cubicBezTo>
                    <a:pt x="1524000" y="695774"/>
                    <a:pt x="1497080" y="722694"/>
                    <a:pt x="1463872" y="722694"/>
                  </a:cubicBezTo>
                  <a:lnTo>
                    <a:pt x="60128" y="722694"/>
                  </a:lnTo>
                  <a:cubicBezTo>
                    <a:pt x="26920" y="722694"/>
                    <a:pt x="0" y="695774"/>
                    <a:pt x="0" y="662566"/>
                  </a:cubicBezTo>
                  <a:lnTo>
                    <a:pt x="0" y="60128"/>
                  </a:lnTo>
                  <a:cubicBezTo>
                    <a:pt x="0" y="26920"/>
                    <a:pt x="26920" y="0"/>
                    <a:pt x="60128" y="0"/>
                  </a:cubicBezTo>
                  <a:close/>
                </a:path>
              </a:pathLst>
            </a:custGeom>
            <a:gradFill flip="none" rotWithShape="1">
              <a:gsLst>
                <a:gs pos="0">
                  <a:schemeClr val="accent1">
                    <a:lumMod val="40000"/>
                    <a:lumOff val="60000"/>
                  </a:schemeClr>
                </a:gs>
                <a:gs pos="100000">
                  <a:schemeClr val="accent1">
                    <a:lumMod val="20000"/>
                    <a:lumOff val="80000"/>
                  </a:schemeClr>
                </a:gs>
              </a:gsLst>
              <a:lin ang="0" scaled="0"/>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1">
              <a:normAutofit/>
            </a:bodyPr>
            <a:lstStyle/>
            <a:p>
              <a:pPr algn="ctr">
                <a:lnSpc>
                  <a:spcPct val="96000"/>
                </a:lnSpc>
              </a:pPr>
              <a:r>
                <a:rPr lang="en-US" altLang="zh-CN" sz="1600" b="1" dirty="0">
                  <a:solidFill>
                    <a:srgbClr val="333333"/>
                  </a:solidFill>
                  <a:latin typeface="Calibri" panose="020F0502020204030204" pitchFamily="34" charset="0"/>
                  <a:ea typeface="+mj-ea"/>
                  <a:cs typeface="Calibri" panose="020F0502020204030204" pitchFamily="34" charset="0"/>
                </a:rPr>
                <a:t>Opening Meeting</a:t>
              </a:r>
            </a:p>
          </p:txBody>
        </p:sp>
        <p:sp>
          <p:nvSpPr>
            <p:cNvPr id="7" name="任意多边形 20"/>
            <p:cNvSpPr/>
            <p:nvPr>
              <p:custDataLst>
                <p:tags r:id="rId31"/>
              </p:custDataLst>
            </p:nvPr>
          </p:nvSpPr>
          <p:spPr>
            <a:xfrm>
              <a:off x="2332779" y="1634854"/>
              <a:ext cx="250861" cy="634456"/>
            </a:xfrm>
            <a:custGeom>
              <a:avLst/>
              <a:gdLst>
                <a:gd name="connsiteX0" fmla="*/ 60128 w 285750"/>
                <a:gd name="connsiteY0" fmla="*/ 0 h 722694"/>
                <a:gd name="connsiteX1" fmla="*/ 285750 w 285750"/>
                <a:gd name="connsiteY1" fmla="*/ 0 h 722694"/>
                <a:gd name="connsiteX2" fmla="*/ 285750 w 285750"/>
                <a:gd name="connsiteY2" fmla="*/ 722694 h 722694"/>
                <a:gd name="connsiteX3" fmla="*/ 60128 w 285750"/>
                <a:gd name="connsiteY3" fmla="*/ 722694 h 722694"/>
                <a:gd name="connsiteX4" fmla="*/ 0 w 285750"/>
                <a:gd name="connsiteY4" fmla="*/ 662566 h 722694"/>
                <a:gd name="connsiteX5" fmla="*/ 0 w 285750"/>
                <a:gd name="connsiteY5" fmla="*/ 60128 h 722694"/>
                <a:gd name="connsiteX6" fmla="*/ 60128 w 285750"/>
                <a:gd name="connsiteY6" fmla="*/ 0 h 7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722694">
                  <a:moveTo>
                    <a:pt x="60128" y="0"/>
                  </a:moveTo>
                  <a:lnTo>
                    <a:pt x="285750" y="0"/>
                  </a:lnTo>
                  <a:lnTo>
                    <a:pt x="285750" y="722694"/>
                  </a:lnTo>
                  <a:lnTo>
                    <a:pt x="60128" y="722694"/>
                  </a:lnTo>
                  <a:cubicBezTo>
                    <a:pt x="26920" y="722694"/>
                    <a:pt x="0" y="695774"/>
                    <a:pt x="0" y="662566"/>
                  </a:cubicBezTo>
                  <a:lnTo>
                    <a:pt x="0" y="60128"/>
                  </a:lnTo>
                  <a:cubicBezTo>
                    <a:pt x="0" y="26920"/>
                    <a:pt x="26920" y="0"/>
                    <a:pt x="6012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p>
          </p:txBody>
        </p:sp>
        <p:sp>
          <p:nvSpPr>
            <p:cNvPr id="22" name="椭圆 22"/>
            <p:cNvSpPr/>
            <p:nvPr>
              <p:custDataLst>
                <p:tags r:id="rId32"/>
              </p:custDataLst>
            </p:nvPr>
          </p:nvSpPr>
          <p:spPr>
            <a:xfrm>
              <a:off x="4417807" y="1797288"/>
              <a:ext cx="321938" cy="321938"/>
            </a:xfrm>
            <a:prstGeom prst="ellipse">
              <a:avLst/>
            </a:prstGeom>
            <a:solidFill>
              <a:srgbClr val="FFFFFF"/>
            </a:solidFill>
            <a:ln w="38100">
              <a:noFill/>
            </a:ln>
            <a:effectLst>
              <a:outerShdw blurRad="127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altLang="zh-CN" sz="1800" b="1">
                  <a:solidFill>
                    <a:srgbClr val="333333"/>
                  </a:solidFill>
                </a:rPr>
                <a:t>1</a:t>
              </a:r>
            </a:p>
          </p:txBody>
        </p:sp>
      </p:grpSp>
      <p:grpSp>
        <p:nvGrpSpPr>
          <p:cNvPr id="44" name="组合 15"/>
          <p:cNvGrpSpPr/>
          <p:nvPr>
            <p:custDataLst>
              <p:tags r:id="rId4"/>
            </p:custDataLst>
          </p:nvPr>
        </p:nvGrpSpPr>
        <p:grpSpPr>
          <a:xfrm>
            <a:off x="2445506" y="3037710"/>
            <a:ext cx="3876553" cy="767246"/>
            <a:chOff x="1981503" y="3224459"/>
            <a:chExt cx="2809112" cy="644616"/>
          </a:xfrm>
        </p:grpSpPr>
        <p:sp>
          <p:nvSpPr>
            <p:cNvPr id="45" name="椭圆 37"/>
            <p:cNvSpPr/>
            <p:nvPr>
              <p:custDataLst>
                <p:tags r:id="rId25"/>
              </p:custDataLst>
            </p:nvPr>
          </p:nvSpPr>
          <p:spPr>
            <a:xfrm>
              <a:off x="4366938" y="3340469"/>
              <a:ext cx="423677" cy="423677"/>
            </a:xfrm>
            <a:prstGeom prst="ellipse">
              <a:avLst/>
            </a:prstGeom>
            <a:solidFill>
              <a:schemeClr val="accent1"/>
            </a:solidFill>
            <a:ln w="38100">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p>
          </p:txBody>
        </p:sp>
        <p:sp>
          <p:nvSpPr>
            <p:cNvPr id="46" name="任意多边形 43"/>
            <p:cNvSpPr/>
            <p:nvPr>
              <p:custDataLst>
                <p:tags r:id="rId26"/>
              </p:custDataLst>
            </p:nvPr>
          </p:nvSpPr>
          <p:spPr>
            <a:xfrm>
              <a:off x="1983350" y="3224459"/>
              <a:ext cx="2127262" cy="634340"/>
            </a:xfrm>
            <a:custGeom>
              <a:avLst/>
              <a:gdLst>
                <a:gd name="connsiteX0" fmla="*/ 60128 w 1651000"/>
                <a:gd name="connsiteY0" fmla="*/ 0 h 722694"/>
                <a:gd name="connsiteX1" fmla="*/ 1463872 w 1651000"/>
                <a:gd name="connsiteY1" fmla="*/ 0 h 722694"/>
                <a:gd name="connsiteX2" fmla="*/ 1524000 w 1651000"/>
                <a:gd name="connsiteY2" fmla="*/ 60128 h 722694"/>
                <a:gd name="connsiteX3" fmla="*/ 1524000 w 1651000"/>
                <a:gd name="connsiteY3" fmla="*/ 247477 h 722694"/>
                <a:gd name="connsiteX4" fmla="*/ 1651000 w 1651000"/>
                <a:gd name="connsiteY4" fmla="*/ 361348 h 722694"/>
                <a:gd name="connsiteX5" fmla="*/ 1524000 w 1651000"/>
                <a:gd name="connsiteY5" fmla="*/ 475220 h 722694"/>
                <a:gd name="connsiteX6" fmla="*/ 1524000 w 1651000"/>
                <a:gd name="connsiteY6" fmla="*/ 662566 h 722694"/>
                <a:gd name="connsiteX7" fmla="*/ 1463872 w 1651000"/>
                <a:gd name="connsiteY7" fmla="*/ 722694 h 722694"/>
                <a:gd name="connsiteX8" fmla="*/ 60128 w 1651000"/>
                <a:gd name="connsiteY8" fmla="*/ 722694 h 722694"/>
                <a:gd name="connsiteX9" fmla="*/ 0 w 1651000"/>
                <a:gd name="connsiteY9" fmla="*/ 662566 h 722694"/>
                <a:gd name="connsiteX10" fmla="*/ 0 w 1651000"/>
                <a:gd name="connsiteY10" fmla="*/ 60128 h 722694"/>
                <a:gd name="connsiteX11" fmla="*/ 60128 w 1651000"/>
                <a:gd name="connsiteY11" fmla="*/ 0 h 7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1000" h="722694">
                  <a:moveTo>
                    <a:pt x="60128" y="0"/>
                  </a:moveTo>
                  <a:lnTo>
                    <a:pt x="1463872" y="0"/>
                  </a:lnTo>
                  <a:cubicBezTo>
                    <a:pt x="1497080" y="0"/>
                    <a:pt x="1524000" y="26920"/>
                    <a:pt x="1524000" y="60128"/>
                  </a:cubicBezTo>
                  <a:lnTo>
                    <a:pt x="1524000" y="247477"/>
                  </a:lnTo>
                  <a:lnTo>
                    <a:pt x="1651000" y="361348"/>
                  </a:lnTo>
                  <a:lnTo>
                    <a:pt x="1524000" y="475220"/>
                  </a:lnTo>
                  <a:lnTo>
                    <a:pt x="1524000" y="662566"/>
                  </a:lnTo>
                  <a:cubicBezTo>
                    <a:pt x="1524000" y="695774"/>
                    <a:pt x="1497080" y="722694"/>
                    <a:pt x="1463872" y="722694"/>
                  </a:cubicBezTo>
                  <a:lnTo>
                    <a:pt x="60128" y="722694"/>
                  </a:lnTo>
                  <a:cubicBezTo>
                    <a:pt x="26920" y="722694"/>
                    <a:pt x="0" y="695774"/>
                    <a:pt x="0" y="662566"/>
                  </a:cubicBezTo>
                  <a:lnTo>
                    <a:pt x="0" y="60128"/>
                  </a:lnTo>
                  <a:cubicBezTo>
                    <a:pt x="0" y="26920"/>
                    <a:pt x="26920" y="0"/>
                    <a:pt x="60128" y="0"/>
                  </a:cubicBezTo>
                  <a:close/>
                </a:path>
              </a:pathLst>
            </a:custGeom>
            <a:gradFill flip="none" rotWithShape="1">
              <a:gsLst>
                <a:gs pos="0">
                  <a:schemeClr val="accent1">
                    <a:lumMod val="40000"/>
                    <a:lumOff val="60000"/>
                  </a:schemeClr>
                </a:gs>
                <a:gs pos="100000">
                  <a:schemeClr val="accent1">
                    <a:lumMod val="20000"/>
                    <a:lumOff val="80000"/>
                  </a:schemeClr>
                </a:gs>
              </a:gsLst>
              <a:lin ang="0" scaled="0"/>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1"/>
            <a:lstStyle/>
            <a:p>
              <a:pPr algn="ctr">
                <a:lnSpc>
                  <a:spcPct val="96000"/>
                </a:lnSpc>
              </a:pPr>
              <a:r>
                <a:rPr lang="en-US" altLang="zh-CN" sz="1600" b="1" dirty="0">
                  <a:solidFill>
                    <a:srgbClr val="333333"/>
                  </a:solidFill>
                  <a:latin typeface="Calibri" panose="020F0502020204030204" pitchFamily="34" charset="0"/>
                  <a:ea typeface="+mj-ea"/>
                  <a:cs typeface="Calibri" panose="020F0502020204030204" pitchFamily="34" charset="0"/>
                </a:rPr>
                <a:t>Management &amp; Employee Interviews</a:t>
              </a:r>
            </a:p>
          </p:txBody>
        </p:sp>
        <p:sp>
          <p:nvSpPr>
            <p:cNvPr id="49" name="任意多边形 48"/>
            <p:cNvSpPr/>
            <p:nvPr>
              <p:custDataLst>
                <p:tags r:id="rId27"/>
              </p:custDataLst>
            </p:nvPr>
          </p:nvSpPr>
          <p:spPr>
            <a:xfrm>
              <a:off x="1981503" y="3234619"/>
              <a:ext cx="250861" cy="634456"/>
            </a:xfrm>
            <a:custGeom>
              <a:avLst/>
              <a:gdLst>
                <a:gd name="connsiteX0" fmla="*/ 60128 w 285750"/>
                <a:gd name="connsiteY0" fmla="*/ 0 h 722694"/>
                <a:gd name="connsiteX1" fmla="*/ 285750 w 285750"/>
                <a:gd name="connsiteY1" fmla="*/ 0 h 722694"/>
                <a:gd name="connsiteX2" fmla="*/ 285750 w 285750"/>
                <a:gd name="connsiteY2" fmla="*/ 722694 h 722694"/>
                <a:gd name="connsiteX3" fmla="*/ 60128 w 285750"/>
                <a:gd name="connsiteY3" fmla="*/ 722694 h 722694"/>
                <a:gd name="connsiteX4" fmla="*/ 0 w 285750"/>
                <a:gd name="connsiteY4" fmla="*/ 662566 h 722694"/>
                <a:gd name="connsiteX5" fmla="*/ 0 w 285750"/>
                <a:gd name="connsiteY5" fmla="*/ 60128 h 722694"/>
                <a:gd name="connsiteX6" fmla="*/ 60128 w 285750"/>
                <a:gd name="connsiteY6" fmla="*/ 0 h 7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722694">
                  <a:moveTo>
                    <a:pt x="60128" y="0"/>
                  </a:moveTo>
                  <a:lnTo>
                    <a:pt x="285750" y="0"/>
                  </a:lnTo>
                  <a:lnTo>
                    <a:pt x="285750" y="722694"/>
                  </a:lnTo>
                  <a:lnTo>
                    <a:pt x="60128" y="722694"/>
                  </a:lnTo>
                  <a:cubicBezTo>
                    <a:pt x="26920" y="722694"/>
                    <a:pt x="0" y="695774"/>
                    <a:pt x="0" y="662566"/>
                  </a:cubicBezTo>
                  <a:lnTo>
                    <a:pt x="0" y="60128"/>
                  </a:lnTo>
                  <a:cubicBezTo>
                    <a:pt x="0" y="26920"/>
                    <a:pt x="26920" y="0"/>
                    <a:pt x="6012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p>
          </p:txBody>
        </p:sp>
        <p:sp>
          <p:nvSpPr>
            <p:cNvPr id="51" name="椭圆 50"/>
            <p:cNvSpPr/>
            <p:nvPr>
              <p:custDataLst>
                <p:tags r:id="rId28"/>
              </p:custDataLst>
            </p:nvPr>
          </p:nvSpPr>
          <p:spPr>
            <a:xfrm>
              <a:off x="4417807" y="3391338"/>
              <a:ext cx="321938" cy="321938"/>
            </a:xfrm>
            <a:prstGeom prst="ellipse">
              <a:avLst/>
            </a:prstGeom>
            <a:solidFill>
              <a:srgbClr val="FFFFFF"/>
            </a:solidFill>
            <a:ln w="38100">
              <a:noFill/>
            </a:ln>
            <a:effectLst>
              <a:outerShdw blurRad="127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altLang="zh-CN" sz="1800" b="1">
                  <a:solidFill>
                    <a:srgbClr val="333333"/>
                  </a:solidFill>
                </a:rPr>
                <a:t>3</a:t>
              </a:r>
            </a:p>
          </p:txBody>
        </p:sp>
      </p:grpSp>
      <p:grpSp>
        <p:nvGrpSpPr>
          <p:cNvPr id="48" name="组合 2"/>
          <p:cNvGrpSpPr/>
          <p:nvPr>
            <p:custDataLst>
              <p:tags r:id="rId5"/>
            </p:custDataLst>
          </p:nvPr>
        </p:nvGrpSpPr>
        <p:grpSpPr>
          <a:xfrm>
            <a:off x="2953663" y="4929928"/>
            <a:ext cx="3368396" cy="760095"/>
            <a:chOff x="1960596" y="4814241"/>
            <a:chExt cx="2830019" cy="638608"/>
          </a:xfrm>
        </p:grpSpPr>
        <p:sp>
          <p:nvSpPr>
            <p:cNvPr id="59" name="椭圆 58"/>
            <p:cNvSpPr/>
            <p:nvPr>
              <p:custDataLst>
                <p:tags r:id="rId21"/>
              </p:custDataLst>
            </p:nvPr>
          </p:nvSpPr>
          <p:spPr>
            <a:xfrm>
              <a:off x="4366938" y="4934519"/>
              <a:ext cx="423677" cy="423677"/>
            </a:xfrm>
            <a:prstGeom prst="ellipse">
              <a:avLst/>
            </a:prstGeom>
            <a:solidFill>
              <a:schemeClr val="accent1"/>
            </a:solidFill>
            <a:ln w="38100">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p>
          </p:txBody>
        </p:sp>
        <p:sp>
          <p:nvSpPr>
            <p:cNvPr id="60" name="任意多边形 59"/>
            <p:cNvSpPr/>
            <p:nvPr>
              <p:custDataLst>
                <p:tags r:id="rId22"/>
              </p:custDataLst>
            </p:nvPr>
          </p:nvSpPr>
          <p:spPr>
            <a:xfrm>
              <a:off x="1970190" y="4818509"/>
              <a:ext cx="2140429" cy="634340"/>
            </a:xfrm>
            <a:custGeom>
              <a:avLst/>
              <a:gdLst>
                <a:gd name="connsiteX0" fmla="*/ 60128 w 1651000"/>
                <a:gd name="connsiteY0" fmla="*/ 0 h 722694"/>
                <a:gd name="connsiteX1" fmla="*/ 1463872 w 1651000"/>
                <a:gd name="connsiteY1" fmla="*/ 0 h 722694"/>
                <a:gd name="connsiteX2" fmla="*/ 1524000 w 1651000"/>
                <a:gd name="connsiteY2" fmla="*/ 60128 h 722694"/>
                <a:gd name="connsiteX3" fmla="*/ 1524000 w 1651000"/>
                <a:gd name="connsiteY3" fmla="*/ 247477 h 722694"/>
                <a:gd name="connsiteX4" fmla="*/ 1651000 w 1651000"/>
                <a:gd name="connsiteY4" fmla="*/ 361348 h 722694"/>
                <a:gd name="connsiteX5" fmla="*/ 1524000 w 1651000"/>
                <a:gd name="connsiteY5" fmla="*/ 475220 h 722694"/>
                <a:gd name="connsiteX6" fmla="*/ 1524000 w 1651000"/>
                <a:gd name="connsiteY6" fmla="*/ 662566 h 722694"/>
                <a:gd name="connsiteX7" fmla="*/ 1463872 w 1651000"/>
                <a:gd name="connsiteY7" fmla="*/ 722694 h 722694"/>
                <a:gd name="connsiteX8" fmla="*/ 60128 w 1651000"/>
                <a:gd name="connsiteY8" fmla="*/ 722694 h 722694"/>
                <a:gd name="connsiteX9" fmla="*/ 0 w 1651000"/>
                <a:gd name="connsiteY9" fmla="*/ 662566 h 722694"/>
                <a:gd name="connsiteX10" fmla="*/ 0 w 1651000"/>
                <a:gd name="connsiteY10" fmla="*/ 60128 h 722694"/>
                <a:gd name="connsiteX11" fmla="*/ 60128 w 1651000"/>
                <a:gd name="connsiteY11" fmla="*/ 0 h 7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1000" h="722694">
                  <a:moveTo>
                    <a:pt x="60128" y="0"/>
                  </a:moveTo>
                  <a:lnTo>
                    <a:pt x="1463872" y="0"/>
                  </a:lnTo>
                  <a:cubicBezTo>
                    <a:pt x="1497080" y="0"/>
                    <a:pt x="1524000" y="26920"/>
                    <a:pt x="1524000" y="60128"/>
                  </a:cubicBezTo>
                  <a:lnTo>
                    <a:pt x="1524000" y="247477"/>
                  </a:lnTo>
                  <a:lnTo>
                    <a:pt x="1651000" y="361348"/>
                  </a:lnTo>
                  <a:lnTo>
                    <a:pt x="1524000" y="475220"/>
                  </a:lnTo>
                  <a:lnTo>
                    <a:pt x="1524000" y="662566"/>
                  </a:lnTo>
                  <a:cubicBezTo>
                    <a:pt x="1524000" y="695774"/>
                    <a:pt x="1497080" y="722694"/>
                    <a:pt x="1463872" y="722694"/>
                  </a:cubicBezTo>
                  <a:lnTo>
                    <a:pt x="60128" y="722694"/>
                  </a:lnTo>
                  <a:cubicBezTo>
                    <a:pt x="26920" y="722694"/>
                    <a:pt x="0" y="695774"/>
                    <a:pt x="0" y="662566"/>
                  </a:cubicBezTo>
                  <a:lnTo>
                    <a:pt x="0" y="60128"/>
                  </a:lnTo>
                  <a:cubicBezTo>
                    <a:pt x="0" y="26920"/>
                    <a:pt x="26920" y="0"/>
                    <a:pt x="60128" y="0"/>
                  </a:cubicBezTo>
                  <a:close/>
                </a:path>
              </a:pathLst>
            </a:custGeom>
            <a:gradFill flip="none" rotWithShape="1">
              <a:gsLst>
                <a:gs pos="0">
                  <a:schemeClr val="accent1">
                    <a:lumMod val="40000"/>
                    <a:lumOff val="60000"/>
                  </a:schemeClr>
                </a:gs>
                <a:gs pos="100000">
                  <a:schemeClr val="accent1">
                    <a:lumMod val="20000"/>
                    <a:lumOff val="80000"/>
                  </a:schemeClr>
                </a:gs>
              </a:gsLst>
              <a:lin ang="0" scaled="0"/>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1">
              <a:noAutofit/>
            </a:bodyPr>
            <a:lstStyle/>
            <a:p>
              <a:pPr algn="ctr" eaLnBrk="1" latinLnBrk="0" hangingPunct="1">
                <a:lnSpc>
                  <a:spcPct val="96000"/>
                </a:lnSpc>
              </a:pPr>
              <a:r>
                <a:rPr lang="en-US" altLang="zh-CN" sz="1600" b="1" dirty="0">
                  <a:solidFill>
                    <a:srgbClr val="333333"/>
                  </a:solidFill>
                  <a:latin typeface="Calibri" panose="020F0502020204030204" pitchFamily="34" charset="0"/>
                  <a:ea typeface="+mj-ea"/>
                  <a:cs typeface="Calibri" panose="020F0502020204030204" pitchFamily="34" charset="0"/>
                </a:rPr>
                <a:t>Audit Team Pre‐Closing Meeting</a:t>
              </a:r>
            </a:p>
          </p:txBody>
        </p:sp>
        <p:sp>
          <p:nvSpPr>
            <p:cNvPr id="61" name="任意多边形 60"/>
            <p:cNvSpPr/>
            <p:nvPr>
              <p:custDataLst>
                <p:tags r:id="rId23"/>
              </p:custDataLst>
            </p:nvPr>
          </p:nvSpPr>
          <p:spPr>
            <a:xfrm>
              <a:off x="1960596" y="4814241"/>
              <a:ext cx="250861" cy="634456"/>
            </a:xfrm>
            <a:custGeom>
              <a:avLst/>
              <a:gdLst>
                <a:gd name="connsiteX0" fmla="*/ 60128 w 285750"/>
                <a:gd name="connsiteY0" fmla="*/ 0 h 722694"/>
                <a:gd name="connsiteX1" fmla="*/ 285750 w 285750"/>
                <a:gd name="connsiteY1" fmla="*/ 0 h 722694"/>
                <a:gd name="connsiteX2" fmla="*/ 285750 w 285750"/>
                <a:gd name="connsiteY2" fmla="*/ 722694 h 722694"/>
                <a:gd name="connsiteX3" fmla="*/ 60128 w 285750"/>
                <a:gd name="connsiteY3" fmla="*/ 722694 h 722694"/>
                <a:gd name="connsiteX4" fmla="*/ 0 w 285750"/>
                <a:gd name="connsiteY4" fmla="*/ 662566 h 722694"/>
                <a:gd name="connsiteX5" fmla="*/ 0 w 285750"/>
                <a:gd name="connsiteY5" fmla="*/ 60128 h 722694"/>
                <a:gd name="connsiteX6" fmla="*/ 60128 w 285750"/>
                <a:gd name="connsiteY6" fmla="*/ 0 h 7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722694">
                  <a:moveTo>
                    <a:pt x="60128" y="0"/>
                  </a:moveTo>
                  <a:lnTo>
                    <a:pt x="285750" y="0"/>
                  </a:lnTo>
                  <a:lnTo>
                    <a:pt x="285750" y="722694"/>
                  </a:lnTo>
                  <a:lnTo>
                    <a:pt x="60128" y="722694"/>
                  </a:lnTo>
                  <a:cubicBezTo>
                    <a:pt x="26920" y="722694"/>
                    <a:pt x="0" y="695774"/>
                    <a:pt x="0" y="662566"/>
                  </a:cubicBezTo>
                  <a:lnTo>
                    <a:pt x="0" y="60128"/>
                  </a:lnTo>
                  <a:cubicBezTo>
                    <a:pt x="0" y="26920"/>
                    <a:pt x="26920" y="0"/>
                    <a:pt x="6012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p>
          </p:txBody>
        </p:sp>
        <p:sp>
          <p:nvSpPr>
            <p:cNvPr id="63" name="椭圆 62"/>
            <p:cNvSpPr/>
            <p:nvPr>
              <p:custDataLst>
                <p:tags r:id="rId24"/>
              </p:custDataLst>
            </p:nvPr>
          </p:nvSpPr>
          <p:spPr>
            <a:xfrm>
              <a:off x="4417807" y="4985388"/>
              <a:ext cx="321938" cy="321938"/>
            </a:xfrm>
            <a:prstGeom prst="ellipse">
              <a:avLst/>
            </a:prstGeom>
            <a:solidFill>
              <a:srgbClr val="FFFFFF"/>
            </a:solidFill>
            <a:ln w="38100">
              <a:noFill/>
            </a:ln>
            <a:effectLst>
              <a:outerShdw blurRad="127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altLang="zh-CN" sz="1800" b="1">
                  <a:solidFill>
                    <a:srgbClr val="333333"/>
                  </a:solidFill>
                </a:rPr>
                <a:t>5</a:t>
              </a:r>
            </a:p>
          </p:txBody>
        </p:sp>
      </p:grpSp>
      <p:grpSp>
        <p:nvGrpSpPr>
          <p:cNvPr id="53" name="组合 16"/>
          <p:cNvGrpSpPr/>
          <p:nvPr>
            <p:custDataLst>
              <p:tags r:id="rId6"/>
            </p:custDataLst>
          </p:nvPr>
        </p:nvGrpSpPr>
        <p:grpSpPr>
          <a:xfrm>
            <a:off x="5825069" y="2089060"/>
            <a:ext cx="2774243" cy="758932"/>
            <a:chOff x="4373060" y="2427434"/>
            <a:chExt cx="2330831" cy="637631"/>
          </a:xfrm>
        </p:grpSpPr>
        <p:sp>
          <p:nvSpPr>
            <p:cNvPr id="54" name="椭圆 26"/>
            <p:cNvSpPr/>
            <p:nvPr>
              <p:custDataLst>
                <p:tags r:id="rId17"/>
              </p:custDataLst>
            </p:nvPr>
          </p:nvSpPr>
          <p:spPr>
            <a:xfrm flipH="1">
              <a:off x="4373060" y="2543444"/>
              <a:ext cx="423677" cy="423677"/>
            </a:xfrm>
            <a:prstGeom prst="ellipse">
              <a:avLst/>
            </a:prstGeom>
            <a:solidFill>
              <a:schemeClr val="accent2"/>
            </a:solidFill>
            <a:ln w="38100">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p>
          </p:txBody>
        </p:sp>
        <p:sp>
          <p:nvSpPr>
            <p:cNvPr id="55" name="任意多边形 27"/>
            <p:cNvSpPr/>
            <p:nvPr>
              <p:custDataLst>
                <p:tags r:id="rId18"/>
              </p:custDataLst>
            </p:nvPr>
          </p:nvSpPr>
          <p:spPr>
            <a:xfrm flipH="1">
              <a:off x="5052831" y="2427434"/>
              <a:ext cx="1642768" cy="634374"/>
            </a:xfrm>
            <a:custGeom>
              <a:avLst/>
              <a:gdLst>
                <a:gd name="connsiteX0" fmla="*/ 60128 w 1651000"/>
                <a:gd name="connsiteY0" fmla="*/ 0 h 722694"/>
                <a:gd name="connsiteX1" fmla="*/ 1463872 w 1651000"/>
                <a:gd name="connsiteY1" fmla="*/ 0 h 722694"/>
                <a:gd name="connsiteX2" fmla="*/ 1524000 w 1651000"/>
                <a:gd name="connsiteY2" fmla="*/ 60128 h 722694"/>
                <a:gd name="connsiteX3" fmla="*/ 1524000 w 1651000"/>
                <a:gd name="connsiteY3" fmla="*/ 247477 h 722694"/>
                <a:gd name="connsiteX4" fmla="*/ 1651000 w 1651000"/>
                <a:gd name="connsiteY4" fmla="*/ 361348 h 722694"/>
                <a:gd name="connsiteX5" fmla="*/ 1524000 w 1651000"/>
                <a:gd name="connsiteY5" fmla="*/ 475220 h 722694"/>
                <a:gd name="connsiteX6" fmla="*/ 1524000 w 1651000"/>
                <a:gd name="connsiteY6" fmla="*/ 662566 h 722694"/>
                <a:gd name="connsiteX7" fmla="*/ 1463872 w 1651000"/>
                <a:gd name="connsiteY7" fmla="*/ 722694 h 722694"/>
                <a:gd name="connsiteX8" fmla="*/ 60128 w 1651000"/>
                <a:gd name="connsiteY8" fmla="*/ 722694 h 722694"/>
                <a:gd name="connsiteX9" fmla="*/ 0 w 1651000"/>
                <a:gd name="connsiteY9" fmla="*/ 662566 h 722694"/>
                <a:gd name="connsiteX10" fmla="*/ 0 w 1651000"/>
                <a:gd name="connsiteY10" fmla="*/ 60128 h 722694"/>
                <a:gd name="connsiteX11" fmla="*/ 60128 w 1651000"/>
                <a:gd name="connsiteY11" fmla="*/ 0 h 7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1000" h="722694">
                  <a:moveTo>
                    <a:pt x="60128" y="0"/>
                  </a:moveTo>
                  <a:lnTo>
                    <a:pt x="1463872" y="0"/>
                  </a:lnTo>
                  <a:cubicBezTo>
                    <a:pt x="1497080" y="0"/>
                    <a:pt x="1524000" y="26920"/>
                    <a:pt x="1524000" y="60128"/>
                  </a:cubicBezTo>
                  <a:lnTo>
                    <a:pt x="1524000" y="247477"/>
                  </a:lnTo>
                  <a:lnTo>
                    <a:pt x="1651000" y="361348"/>
                  </a:lnTo>
                  <a:lnTo>
                    <a:pt x="1524000" y="475220"/>
                  </a:lnTo>
                  <a:lnTo>
                    <a:pt x="1524000" y="662566"/>
                  </a:lnTo>
                  <a:cubicBezTo>
                    <a:pt x="1524000" y="695774"/>
                    <a:pt x="1497080" y="722694"/>
                    <a:pt x="1463872" y="722694"/>
                  </a:cubicBezTo>
                  <a:lnTo>
                    <a:pt x="60128" y="722694"/>
                  </a:lnTo>
                  <a:cubicBezTo>
                    <a:pt x="26920" y="722694"/>
                    <a:pt x="0" y="695774"/>
                    <a:pt x="0" y="662566"/>
                  </a:cubicBezTo>
                  <a:lnTo>
                    <a:pt x="0" y="60128"/>
                  </a:lnTo>
                  <a:cubicBezTo>
                    <a:pt x="0" y="26920"/>
                    <a:pt x="26920" y="0"/>
                    <a:pt x="60128" y="0"/>
                  </a:cubicBezTo>
                  <a:close/>
                </a:path>
              </a:pathLst>
            </a:custGeom>
            <a:gradFill flip="none" rotWithShape="1">
              <a:gsLst>
                <a:gs pos="0">
                  <a:schemeClr val="accent2">
                    <a:lumMod val="40000"/>
                    <a:lumOff val="60000"/>
                  </a:schemeClr>
                </a:gs>
                <a:gs pos="100000">
                  <a:schemeClr val="accent2">
                    <a:lumMod val="20000"/>
                    <a:lumOff val="80000"/>
                  </a:schemeClr>
                </a:gs>
              </a:gsLst>
              <a:lin ang="0" scaled="0"/>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nchorCtr="1">
              <a:normAutofit/>
            </a:bodyPr>
            <a:lstStyle/>
            <a:p>
              <a:pPr algn="ctr">
                <a:lnSpc>
                  <a:spcPct val="96000"/>
                </a:lnSpc>
              </a:pPr>
              <a:r>
                <a:rPr lang="en-US" altLang="zh-CN" sz="1600" b="1" dirty="0">
                  <a:solidFill>
                    <a:srgbClr val="333333"/>
                  </a:solidFill>
                  <a:latin typeface="Calibri" panose="020F0502020204030204" pitchFamily="34" charset="0"/>
                  <a:ea typeface="+mj-ea"/>
                  <a:cs typeface="Calibri" panose="020F0502020204030204" pitchFamily="34" charset="0"/>
                </a:rPr>
                <a:t>Production </a:t>
              </a:r>
            </a:p>
            <a:p>
              <a:pPr algn="ctr">
                <a:lnSpc>
                  <a:spcPct val="96000"/>
                </a:lnSpc>
              </a:pPr>
              <a:r>
                <a:rPr lang="en-US" altLang="zh-CN" sz="1600" b="1" dirty="0">
                  <a:solidFill>
                    <a:srgbClr val="333333"/>
                  </a:solidFill>
                  <a:latin typeface="Calibri" panose="020F0502020204030204" pitchFamily="34" charset="0"/>
                  <a:ea typeface="+mj-ea"/>
                  <a:cs typeface="Calibri" panose="020F0502020204030204" pitchFamily="34" charset="0"/>
                </a:rPr>
                <a:t>Site Tour</a:t>
              </a:r>
            </a:p>
          </p:txBody>
        </p:sp>
        <p:sp>
          <p:nvSpPr>
            <p:cNvPr id="56" name="任意多边形 28"/>
            <p:cNvSpPr/>
            <p:nvPr>
              <p:custDataLst>
                <p:tags r:id="rId19"/>
              </p:custDataLst>
            </p:nvPr>
          </p:nvSpPr>
          <p:spPr>
            <a:xfrm flipH="1">
              <a:off x="6453030" y="2430609"/>
              <a:ext cx="250861" cy="634456"/>
            </a:xfrm>
            <a:custGeom>
              <a:avLst/>
              <a:gdLst>
                <a:gd name="connsiteX0" fmla="*/ 60128 w 285750"/>
                <a:gd name="connsiteY0" fmla="*/ 0 h 722694"/>
                <a:gd name="connsiteX1" fmla="*/ 285750 w 285750"/>
                <a:gd name="connsiteY1" fmla="*/ 0 h 722694"/>
                <a:gd name="connsiteX2" fmla="*/ 285750 w 285750"/>
                <a:gd name="connsiteY2" fmla="*/ 722694 h 722694"/>
                <a:gd name="connsiteX3" fmla="*/ 60128 w 285750"/>
                <a:gd name="connsiteY3" fmla="*/ 722694 h 722694"/>
                <a:gd name="connsiteX4" fmla="*/ 0 w 285750"/>
                <a:gd name="connsiteY4" fmla="*/ 662566 h 722694"/>
                <a:gd name="connsiteX5" fmla="*/ 0 w 285750"/>
                <a:gd name="connsiteY5" fmla="*/ 60128 h 722694"/>
                <a:gd name="connsiteX6" fmla="*/ 60128 w 285750"/>
                <a:gd name="connsiteY6" fmla="*/ 0 h 7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722694">
                  <a:moveTo>
                    <a:pt x="60128" y="0"/>
                  </a:moveTo>
                  <a:lnTo>
                    <a:pt x="285750" y="0"/>
                  </a:lnTo>
                  <a:lnTo>
                    <a:pt x="285750" y="722694"/>
                  </a:lnTo>
                  <a:lnTo>
                    <a:pt x="60128" y="722694"/>
                  </a:lnTo>
                  <a:cubicBezTo>
                    <a:pt x="26920" y="722694"/>
                    <a:pt x="0" y="695774"/>
                    <a:pt x="0" y="662566"/>
                  </a:cubicBezTo>
                  <a:lnTo>
                    <a:pt x="0" y="60128"/>
                  </a:lnTo>
                  <a:cubicBezTo>
                    <a:pt x="0" y="26920"/>
                    <a:pt x="26920" y="0"/>
                    <a:pt x="6012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p>
          </p:txBody>
        </p:sp>
        <p:sp>
          <p:nvSpPr>
            <p:cNvPr id="58" name="椭圆 30"/>
            <p:cNvSpPr/>
            <p:nvPr>
              <p:custDataLst>
                <p:tags r:id="rId20"/>
              </p:custDataLst>
            </p:nvPr>
          </p:nvSpPr>
          <p:spPr>
            <a:xfrm flipH="1">
              <a:off x="4423929" y="2594313"/>
              <a:ext cx="321938" cy="321938"/>
            </a:xfrm>
            <a:prstGeom prst="ellipse">
              <a:avLst/>
            </a:prstGeom>
            <a:solidFill>
              <a:srgbClr val="FFFFFF"/>
            </a:solidFill>
            <a:ln w="38100">
              <a:noFill/>
            </a:ln>
            <a:effectLst>
              <a:outerShdw blurRad="127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altLang="zh-CN" sz="1800" b="1">
                  <a:solidFill>
                    <a:srgbClr val="333333"/>
                  </a:solidFill>
                </a:rPr>
                <a:t>2</a:t>
              </a:r>
            </a:p>
          </p:txBody>
        </p:sp>
      </p:grpSp>
      <p:grpSp>
        <p:nvGrpSpPr>
          <p:cNvPr id="65" name="组合 14"/>
          <p:cNvGrpSpPr/>
          <p:nvPr>
            <p:custDataLst>
              <p:tags r:id="rId7"/>
            </p:custDataLst>
          </p:nvPr>
        </p:nvGrpSpPr>
        <p:grpSpPr>
          <a:xfrm>
            <a:off x="5825069" y="3986359"/>
            <a:ext cx="2995694" cy="755153"/>
            <a:chOff x="4373060" y="4021484"/>
            <a:chExt cx="2516887" cy="634456"/>
          </a:xfrm>
        </p:grpSpPr>
        <p:sp>
          <p:nvSpPr>
            <p:cNvPr id="66" name="椭圆 52"/>
            <p:cNvSpPr/>
            <p:nvPr>
              <p:custDataLst>
                <p:tags r:id="rId13"/>
              </p:custDataLst>
            </p:nvPr>
          </p:nvSpPr>
          <p:spPr>
            <a:xfrm flipH="1">
              <a:off x="4373060" y="4137494"/>
              <a:ext cx="423677" cy="423677"/>
            </a:xfrm>
            <a:prstGeom prst="ellipse">
              <a:avLst/>
            </a:prstGeom>
            <a:solidFill>
              <a:schemeClr val="accent2"/>
            </a:solidFill>
            <a:ln w="38100">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p>
          </p:txBody>
        </p:sp>
        <p:sp>
          <p:nvSpPr>
            <p:cNvPr id="67" name="任意多边形 53"/>
            <p:cNvSpPr/>
            <p:nvPr>
              <p:custDataLst>
                <p:tags r:id="rId14"/>
              </p:custDataLst>
            </p:nvPr>
          </p:nvSpPr>
          <p:spPr>
            <a:xfrm flipH="1">
              <a:off x="5052519" y="4021484"/>
              <a:ext cx="1830730" cy="634374"/>
            </a:xfrm>
            <a:custGeom>
              <a:avLst/>
              <a:gdLst>
                <a:gd name="connsiteX0" fmla="*/ 60128 w 1651000"/>
                <a:gd name="connsiteY0" fmla="*/ 0 h 722694"/>
                <a:gd name="connsiteX1" fmla="*/ 1463872 w 1651000"/>
                <a:gd name="connsiteY1" fmla="*/ 0 h 722694"/>
                <a:gd name="connsiteX2" fmla="*/ 1524000 w 1651000"/>
                <a:gd name="connsiteY2" fmla="*/ 60128 h 722694"/>
                <a:gd name="connsiteX3" fmla="*/ 1524000 w 1651000"/>
                <a:gd name="connsiteY3" fmla="*/ 247477 h 722694"/>
                <a:gd name="connsiteX4" fmla="*/ 1651000 w 1651000"/>
                <a:gd name="connsiteY4" fmla="*/ 361348 h 722694"/>
                <a:gd name="connsiteX5" fmla="*/ 1524000 w 1651000"/>
                <a:gd name="connsiteY5" fmla="*/ 475220 h 722694"/>
                <a:gd name="connsiteX6" fmla="*/ 1524000 w 1651000"/>
                <a:gd name="connsiteY6" fmla="*/ 662566 h 722694"/>
                <a:gd name="connsiteX7" fmla="*/ 1463872 w 1651000"/>
                <a:gd name="connsiteY7" fmla="*/ 722694 h 722694"/>
                <a:gd name="connsiteX8" fmla="*/ 60128 w 1651000"/>
                <a:gd name="connsiteY8" fmla="*/ 722694 h 722694"/>
                <a:gd name="connsiteX9" fmla="*/ 0 w 1651000"/>
                <a:gd name="connsiteY9" fmla="*/ 662566 h 722694"/>
                <a:gd name="connsiteX10" fmla="*/ 0 w 1651000"/>
                <a:gd name="connsiteY10" fmla="*/ 60128 h 722694"/>
                <a:gd name="connsiteX11" fmla="*/ 60128 w 1651000"/>
                <a:gd name="connsiteY11" fmla="*/ 0 h 7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1000" h="722694">
                  <a:moveTo>
                    <a:pt x="60128" y="0"/>
                  </a:moveTo>
                  <a:lnTo>
                    <a:pt x="1463872" y="0"/>
                  </a:lnTo>
                  <a:cubicBezTo>
                    <a:pt x="1497080" y="0"/>
                    <a:pt x="1524000" y="26920"/>
                    <a:pt x="1524000" y="60128"/>
                  </a:cubicBezTo>
                  <a:lnTo>
                    <a:pt x="1524000" y="247477"/>
                  </a:lnTo>
                  <a:lnTo>
                    <a:pt x="1651000" y="361348"/>
                  </a:lnTo>
                  <a:lnTo>
                    <a:pt x="1524000" y="475220"/>
                  </a:lnTo>
                  <a:lnTo>
                    <a:pt x="1524000" y="662566"/>
                  </a:lnTo>
                  <a:cubicBezTo>
                    <a:pt x="1524000" y="695774"/>
                    <a:pt x="1497080" y="722694"/>
                    <a:pt x="1463872" y="722694"/>
                  </a:cubicBezTo>
                  <a:lnTo>
                    <a:pt x="60128" y="722694"/>
                  </a:lnTo>
                  <a:cubicBezTo>
                    <a:pt x="26920" y="722694"/>
                    <a:pt x="0" y="695774"/>
                    <a:pt x="0" y="662566"/>
                  </a:cubicBezTo>
                  <a:lnTo>
                    <a:pt x="0" y="60128"/>
                  </a:lnTo>
                  <a:cubicBezTo>
                    <a:pt x="0" y="26920"/>
                    <a:pt x="26920" y="0"/>
                    <a:pt x="60128" y="0"/>
                  </a:cubicBezTo>
                  <a:close/>
                </a:path>
              </a:pathLst>
            </a:custGeom>
            <a:gradFill flip="none" rotWithShape="1">
              <a:gsLst>
                <a:gs pos="0">
                  <a:schemeClr val="accent2">
                    <a:lumMod val="40000"/>
                    <a:lumOff val="60000"/>
                  </a:schemeClr>
                </a:gs>
                <a:gs pos="100000">
                  <a:schemeClr val="accent2">
                    <a:lumMod val="20000"/>
                    <a:lumOff val="80000"/>
                  </a:schemeClr>
                </a:gs>
              </a:gsLst>
              <a:lin ang="0" scaled="0"/>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nchorCtr="1">
              <a:normAutofit/>
            </a:bodyPr>
            <a:lstStyle/>
            <a:p>
              <a:pPr algn="ctr">
                <a:lnSpc>
                  <a:spcPct val="96000"/>
                </a:lnSpc>
              </a:pPr>
              <a:r>
                <a:rPr lang="en-US" altLang="zh-CN" sz="1600" b="1" dirty="0">
                  <a:solidFill>
                    <a:srgbClr val="333333"/>
                  </a:solidFill>
                  <a:latin typeface="Calibri" panose="020F0502020204030204" pitchFamily="34" charset="0"/>
                  <a:ea typeface="+mj-ea"/>
                  <a:cs typeface="Calibri" panose="020F0502020204030204" pitchFamily="34" charset="0"/>
                </a:rPr>
                <a:t>Documentation                Review</a:t>
              </a:r>
            </a:p>
          </p:txBody>
        </p:sp>
        <p:sp>
          <p:nvSpPr>
            <p:cNvPr id="68" name="任意多边形 54"/>
            <p:cNvSpPr/>
            <p:nvPr>
              <p:custDataLst>
                <p:tags r:id="rId15"/>
              </p:custDataLst>
            </p:nvPr>
          </p:nvSpPr>
          <p:spPr>
            <a:xfrm flipH="1">
              <a:off x="6639086" y="4021484"/>
              <a:ext cx="250861" cy="634456"/>
            </a:xfrm>
            <a:custGeom>
              <a:avLst/>
              <a:gdLst>
                <a:gd name="connsiteX0" fmla="*/ 60128 w 285750"/>
                <a:gd name="connsiteY0" fmla="*/ 0 h 722694"/>
                <a:gd name="connsiteX1" fmla="*/ 285750 w 285750"/>
                <a:gd name="connsiteY1" fmla="*/ 0 h 722694"/>
                <a:gd name="connsiteX2" fmla="*/ 285750 w 285750"/>
                <a:gd name="connsiteY2" fmla="*/ 722694 h 722694"/>
                <a:gd name="connsiteX3" fmla="*/ 60128 w 285750"/>
                <a:gd name="connsiteY3" fmla="*/ 722694 h 722694"/>
                <a:gd name="connsiteX4" fmla="*/ 0 w 285750"/>
                <a:gd name="connsiteY4" fmla="*/ 662566 h 722694"/>
                <a:gd name="connsiteX5" fmla="*/ 0 w 285750"/>
                <a:gd name="connsiteY5" fmla="*/ 60128 h 722694"/>
                <a:gd name="connsiteX6" fmla="*/ 60128 w 285750"/>
                <a:gd name="connsiteY6" fmla="*/ 0 h 7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722694">
                  <a:moveTo>
                    <a:pt x="60128" y="0"/>
                  </a:moveTo>
                  <a:lnTo>
                    <a:pt x="285750" y="0"/>
                  </a:lnTo>
                  <a:lnTo>
                    <a:pt x="285750" y="722694"/>
                  </a:lnTo>
                  <a:lnTo>
                    <a:pt x="60128" y="722694"/>
                  </a:lnTo>
                  <a:cubicBezTo>
                    <a:pt x="26920" y="722694"/>
                    <a:pt x="0" y="695774"/>
                    <a:pt x="0" y="662566"/>
                  </a:cubicBezTo>
                  <a:lnTo>
                    <a:pt x="0" y="60128"/>
                  </a:lnTo>
                  <a:cubicBezTo>
                    <a:pt x="0" y="26920"/>
                    <a:pt x="26920" y="0"/>
                    <a:pt x="6012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p>
          </p:txBody>
        </p:sp>
        <p:sp>
          <p:nvSpPr>
            <p:cNvPr id="70" name="椭圆 56"/>
            <p:cNvSpPr/>
            <p:nvPr>
              <p:custDataLst>
                <p:tags r:id="rId16"/>
              </p:custDataLst>
            </p:nvPr>
          </p:nvSpPr>
          <p:spPr>
            <a:xfrm flipH="1">
              <a:off x="4423929" y="4188363"/>
              <a:ext cx="321938" cy="321938"/>
            </a:xfrm>
            <a:prstGeom prst="ellipse">
              <a:avLst/>
            </a:prstGeom>
            <a:solidFill>
              <a:srgbClr val="FFFFFF"/>
            </a:solidFill>
            <a:ln w="38100">
              <a:noFill/>
            </a:ln>
            <a:effectLst>
              <a:outerShdw blurRad="127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altLang="zh-CN" sz="1800" b="1">
                  <a:solidFill>
                    <a:srgbClr val="333333"/>
                  </a:solidFill>
                </a:rPr>
                <a:t>4</a:t>
              </a:r>
            </a:p>
          </p:txBody>
        </p:sp>
      </p:grpSp>
      <p:grpSp>
        <p:nvGrpSpPr>
          <p:cNvPr id="72" name="组合 1"/>
          <p:cNvGrpSpPr/>
          <p:nvPr>
            <p:custDataLst>
              <p:tags r:id="rId8"/>
            </p:custDataLst>
          </p:nvPr>
        </p:nvGrpSpPr>
        <p:grpSpPr>
          <a:xfrm>
            <a:off x="5825069" y="5880635"/>
            <a:ext cx="2737207" cy="758079"/>
            <a:chOff x="4373060" y="5612995"/>
            <a:chExt cx="2299715" cy="636914"/>
          </a:xfrm>
        </p:grpSpPr>
        <p:sp>
          <p:nvSpPr>
            <p:cNvPr id="73" name="椭圆 35"/>
            <p:cNvSpPr/>
            <p:nvPr>
              <p:custDataLst>
                <p:tags r:id="rId9"/>
              </p:custDataLst>
            </p:nvPr>
          </p:nvSpPr>
          <p:spPr>
            <a:xfrm flipH="1">
              <a:off x="4373060" y="5731545"/>
              <a:ext cx="423677" cy="423677"/>
            </a:xfrm>
            <a:prstGeom prst="ellipse">
              <a:avLst/>
            </a:prstGeom>
            <a:solidFill>
              <a:schemeClr val="accent2"/>
            </a:solidFill>
            <a:ln w="38100">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p>
          </p:txBody>
        </p:sp>
        <p:sp>
          <p:nvSpPr>
            <p:cNvPr id="74" name="任意多边形 36"/>
            <p:cNvSpPr/>
            <p:nvPr>
              <p:custDataLst>
                <p:tags r:id="rId10"/>
              </p:custDataLst>
            </p:nvPr>
          </p:nvSpPr>
          <p:spPr>
            <a:xfrm flipH="1">
              <a:off x="5053154" y="5615535"/>
              <a:ext cx="1441470" cy="634374"/>
            </a:xfrm>
            <a:custGeom>
              <a:avLst/>
              <a:gdLst>
                <a:gd name="connsiteX0" fmla="*/ 60128 w 1651000"/>
                <a:gd name="connsiteY0" fmla="*/ 0 h 722694"/>
                <a:gd name="connsiteX1" fmla="*/ 1463872 w 1651000"/>
                <a:gd name="connsiteY1" fmla="*/ 0 h 722694"/>
                <a:gd name="connsiteX2" fmla="*/ 1524000 w 1651000"/>
                <a:gd name="connsiteY2" fmla="*/ 60128 h 722694"/>
                <a:gd name="connsiteX3" fmla="*/ 1524000 w 1651000"/>
                <a:gd name="connsiteY3" fmla="*/ 247477 h 722694"/>
                <a:gd name="connsiteX4" fmla="*/ 1651000 w 1651000"/>
                <a:gd name="connsiteY4" fmla="*/ 361348 h 722694"/>
                <a:gd name="connsiteX5" fmla="*/ 1524000 w 1651000"/>
                <a:gd name="connsiteY5" fmla="*/ 475220 h 722694"/>
                <a:gd name="connsiteX6" fmla="*/ 1524000 w 1651000"/>
                <a:gd name="connsiteY6" fmla="*/ 662566 h 722694"/>
                <a:gd name="connsiteX7" fmla="*/ 1463872 w 1651000"/>
                <a:gd name="connsiteY7" fmla="*/ 722694 h 722694"/>
                <a:gd name="connsiteX8" fmla="*/ 60128 w 1651000"/>
                <a:gd name="connsiteY8" fmla="*/ 722694 h 722694"/>
                <a:gd name="connsiteX9" fmla="*/ 0 w 1651000"/>
                <a:gd name="connsiteY9" fmla="*/ 662566 h 722694"/>
                <a:gd name="connsiteX10" fmla="*/ 0 w 1651000"/>
                <a:gd name="connsiteY10" fmla="*/ 60128 h 722694"/>
                <a:gd name="connsiteX11" fmla="*/ 60128 w 1651000"/>
                <a:gd name="connsiteY11" fmla="*/ 0 h 7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1000" h="722694">
                  <a:moveTo>
                    <a:pt x="60128" y="0"/>
                  </a:moveTo>
                  <a:lnTo>
                    <a:pt x="1463872" y="0"/>
                  </a:lnTo>
                  <a:cubicBezTo>
                    <a:pt x="1497080" y="0"/>
                    <a:pt x="1524000" y="26920"/>
                    <a:pt x="1524000" y="60128"/>
                  </a:cubicBezTo>
                  <a:lnTo>
                    <a:pt x="1524000" y="247477"/>
                  </a:lnTo>
                  <a:lnTo>
                    <a:pt x="1651000" y="361348"/>
                  </a:lnTo>
                  <a:lnTo>
                    <a:pt x="1524000" y="475220"/>
                  </a:lnTo>
                  <a:lnTo>
                    <a:pt x="1524000" y="662566"/>
                  </a:lnTo>
                  <a:cubicBezTo>
                    <a:pt x="1524000" y="695774"/>
                    <a:pt x="1497080" y="722694"/>
                    <a:pt x="1463872" y="722694"/>
                  </a:cubicBezTo>
                  <a:lnTo>
                    <a:pt x="60128" y="722694"/>
                  </a:lnTo>
                  <a:cubicBezTo>
                    <a:pt x="26920" y="722694"/>
                    <a:pt x="0" y="695774"/>
                    <a:pt x="0" y="662566"/>
                  </a:cubicBezTo>
                  <a:lnTo>
                    <a:pt x="0" y="60128"/>
                  </a:lnTo>
                  <a:cubicBezTo>
                    <a:pt x="0" y="26920"/>
                    <a:pt x="26920" y="0"/>
                    <a:pt x="60128" y="0"/>
                  </a:cubicBezTo>
                  <a:close/>
                </a:path>
              </a:pathLst>
            </a:custGeom>
            <a:gradFill flip="none" rotWithShape="1">
              <a:gsLst>
                <a:gs pos="0">
                  <a:schemeClr val="accent2">
                    <a:lumMod val="40000"/>
                    <a:lumOff val="60000"/>
                  </a:schemeClr>
                </a:gs>
                <a:gs pos="100000">
                  <a:schemeClr val="accent2">
                    <a:lumMod val="20000"/>
                    <a:lumOff val="80000"/>
                  </a:schemeClr>
                </a:gs>
              </a:gsLst>
              <a:lin ang="0" scaled="0"/>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nchorCtr="1">
              <a:normAutofit/>
            </a:bodyPr>
            <a:lstStyle/>
            <a:p>
              <a:pPr algn="ctr">
                <a:lnSpc>
                  <a:spcPct val="96000"/>
                </a:lnSpc>
              </a:pPr>
              <a:r>
                <a:rPr lang="en-US" altLang="zh-CN" sz="1600" b="1" dirty="0">
                  <a:solidFill>
                    <a:srgbClr val="333333"/>
                  </a:solidFill>
                  <a:latin typeface="Calibri" panose="020F0502020204030204" pitchFamily="34" charset="0"/>
                  <a:ea typeface="+mj-ea"/>
                  <a:cs typeface="Calibri" panose="020F0502020204030204" pitchFamily="34" charset="0"/>
                </a:rPr>
                <a:t>Feedback &amp;        Close meeting </a:t>
              </a:r>
            </a:p>
          </p:txBody>
        </p:sp>
        <p:sp>
          <p:nvSpPr>
            <p:cNvPr id="75" name="任意多边形 38"/>
            <p:cNvSpPr/>
            <p:nvPr>
              <p:custDataLst>
                <p:tags r:id="rId11"/>
              </p:custDataLst>
            </p:nvPr>
          </p:nvSpPr>
          <p:spPr>
            <a:xfrm flipH="1">
              <a:off x="6421914" y="5612995"/>
              <a:ext cx="250861" cy="634456"/>
            </a:xfrm>
            <a:custGeom>
              <a:avLst/>
              <a:gdLst>
                <a:gd name="connsiteX0" fmla="*/ 60128 w 285750"/>
                <a:gd name="connsiteY0" fmla="*/ 0 h 722694"/>
                <a:gd name="connsiteX1" fmla="*/ 285750 w 285750"/>
                <a:gd name="connsiteY1" fmla="*/ 0 h 722694"/>
                <a:gd name="connsiteX2" fmla="*/ 285750 w 285750"/>
                <a:gd name="connsiteY2" fmla="*/ 722694 h 722694"/>
                <a:gd name="connsiteX3" fmla="*/ 60128 w 285750"/>
                <a:gd name="connsiteY3" fmla="*/ 722694 h 722694"/>
                <a:gd name="connsiteX4" fmla="*/ 0 w 285750"/>
                <a:gd name="connsiteY4" fmla="*/ 662566 h 722694"/>
                <a:gd name="connsiteX5" fmla="*/ 0 w 285750"/>
                <a:gd name="connsiteY5" fmla="*/ 60128 h 722694"/>
                <a:gd name="connsiteX6" fmla="*/ 60128 w 285750"/>
                <a:gd name="connsiteY6" fmla="*/ 0 h 7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722694">
                  <a:moveTo>
                    <a:pt x="60128" y="0"/>
                  </a:moveTo>
                  <a:lnTo>
                    <a:pt x="285750" y="0"/>
                  </a:lnTo>
                  <a:lnTo>
                    <a:pt x="285750" y="722694"/>
                  </a:lnTo>
                  <a:lnTo>
                    <a:pt x="60128" y="722694"/>
                  </a:lnTo>
                  <a:cubicBezTo>
                    <a:pt x="26920" y="722694"/>
                    <a:pt x="0" y="695774"/>
                    <a:pt x="0" y="662566"/>
                  </a:cubicBezTo>
                  <a:lnTo>
                    <a:pt x="0" y="60128"/>
                  </a:lnTo>
                  <a:cubicBezTo>
                    <a:pt x="0" y="26920"/>
                    <a:pt x="26920" y="0"/>
                    <a:pt x="60128"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b="1"/>
            </a:p>
          </p:txBody>
        </p:sp>
        <p:sp>
          <p:nvSpPr>
            <p:cNvPr id="77" name="椭圆 40"/>
            <p:cNvSpPr/>
            <p:nvPr>
              <p:custDataLst>
                <p:tags r:id="rId12"/>
              </p:custDataLst>
            </p:nvPr>
          </p:nvSpPr>
          <p:spPr>
            <a:xfrm flipH="1">
              <a:off x="4423929" y="5782414"/>
              <a:ext cx="321938" cy="321938"/>
            </a:xfrm>
            <a:prstGeom prst="ellipse">
              <a:avLst/>
            </a:prstGeom>
            <a:solidFill>
              <a:srgbClr val="FFFFFF"/>
            </a:solidFill>
            <a:ln w="38100">
              <a:noFill/>
            </a:ln>
            <a:effectLst>
              <a:outerShdw blurRad="127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altLang="zh-CN" sz="1800" b="1">
                  <a:solidFill>
                    <a:srgbClr val="333333"/>
                  </a:solidFill>
                </a:rPr>
                <a:t>6</a:t>
              </a:r>
            </a:p>
          </p:txBody>
        </p:sp>
      </p:grpSp>
    </p:spTree>
    <p:custDataLst>
      <p:tags r:id="rId1"/>
    </p:custData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8" name="等腰三角形 27"/>
          <p:cNvSpPr>
            <a:spLocks noChangeArrowheads="1"/>
          </p:cNvSpPr>
          <p:nvPr/>
        </p:nvSpPr>
        <p:spPr bwMode="auto">
          <a:xfrm rot="9233090">
            <a:off x="11153775" y="6661150"/>
            <a:ext cx="122238" cy="104775"/>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29" name="等腰三角形 28"/>
          <p:cNvSpPr>
            <a:spLocks noChangeArrowheads="1"/>
          </p:cNvSpPr>
          <p:nvPr/>
        </p:nvSpPr>
        <p:spPr bwMode="auto">
          <a:xfrm rot="-6030424">
            <a:off x="10913269" y="6634956"/>
            <a:ext cx="180975" cy="157163"/>
          </a:xfrm>
          <a:prstGeom prst="triangle">
            <a:avLst>
              <a:gd name="adj" fmla="val 50000"/>
            </a:avLst>
          </a:prstGeom>
          <a:solidFill>
            <a:srgbClr val="309030"/>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30" name="等腰三角形 29"/>
          <p:cNvSpPr>
            <a:spLocks noChangeArrowheads="1"/>
          </p:cNvSpPr>
          <p:nvPr/>
        </p:nvSpPr>
        <p:spPr bwMode="auto">
          <a:xfrm rot="-228606">
            <a:off x="11368088" y="6643688"/>
            <a:ext cx="122237" cy="104775"/>
          </a:xfrm>
          <a:prstGeom prst="triangle">
            <a:avLst>
              <a:gd name="adj" fmla="val 50000"/>
            </a:avLst>
          </a:prstGeom>
          <a:solidFill>
            <a:srgbClr val="2B7E2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31" name="等腰三角形 30"/>
          <p:cNvSpPr>
            <a:spLocks noChangeArrowheads="1"/>
          </p:cNvSpPr>
          <p:nvPr/>
        </p:nvSpPr>
        <p:spPr bwMode="auto">
          <a:xfrm rot="-3389783">
            <a:off x="11107738" y="6572250"/>
            <a:ext cx="58737" cy="49213"/>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32" name="等腰三角形 31"/>
          <p:cNvSpPr>
            <a:spLocks noChangeArrowheads="1"/>
          </p:cNvSpPr>
          <p:nvPr/>
        </p:nvSpPr>
        <p:spPr bwMode="auto">
          <a:xfrm rot="8748521">
            <a:off x="11296650" y="6657975"/>
            <a:ext cx="58738" cy="49213"/>
          </a:xfrm>
          <a:prstGeom prst="triangle">
            <a:avLst>
              <a:gd name="adj" fmla="val 50000"/>
            </a:avLst>
          </a:prstGeom>
          <a:solidFill>
            <a:srgbClr val="559551"/>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40" name="等腰三角形 39"/>
          <p:cNvSpPr>
            <a:spLocks noChangeArrowheads="1"/>
          </p:cNvSpPr>
          <p:nvPr/>
        </p:nvSpPr>
        <p:spPr bwMode="auto">
          <a:xfrm>
            <a:off x="196850" y="360363"/>
            <a:ext cx="563563" cy="485775"/>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sp>
        <p:nvSpPr>
          <p:cNvPr id="41" name="等腰三角形 40"/>
          <p:cNvSpPr>
            <a:spLocks noChangeArrowheads="1"/>
          </p:cNvSpPr>
          <p:nvPr/>
        </p:nvSpPr>
        <p:spPr bwMode="auto">
          <a:xfrm>
            <a:off x="760413" y="696913"/>
            <a:ext cx="265112" cy="228600"/>
          </a:xfrm>
          <a:prstGeom prst="triangle">
            <a:avLst>
              <a:gd name="adj" fmla="val 50000"/>
            </a:avLst>
          </a:prstGeom>
          <a:solidFill>
            <a:srgbClr val="197519">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sp>
        <p:nvSpPr>
          <p:cNvPr id="42" name="等腰三角形 41"/>
          <p:cNvSpPr>
            <a:spLocks noChangeArrowheads="1"/>
          </p:cNvSpPr>
          <p:nvPr/>
        </p:nvSpPr>
        <p:spPr bwMode="auto">
          <a:xfrm flipH="1">
            <a:off x="630238" y="469900"/>
            <a:ext cx="85725" cy="74613"/>
          </a:xfrm>
          <a:prstGeom prst="triangle">
            <a:avLst>
              <a:gd name="adj" fmla="val 50000"/>
            </a:avLst>
          </a:prstGeom>
          <a:solidFill>
            <a:srgbClr val="197519">
              <a:alpha val="46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sp>
        <p:nvSpPr>
          <p:cNvPr id="43" name="等腰三角形 42"/>
          <p:cNvSpPr>
            <a:spLocks noChangeArrowheads="1"/>
          </p:cNvSpPr>
          <p:nvPr/>
        </p:nvSpPr>
        <p:spPr bwMode="auto">
          <a:xfrm>
            <a:off x="833438" y="490538"/>
            <a:ext cx="177800" cy="152400"/>
          </a:xfrm>
          <a:prstGeom prst="triangle">
            <a:avLst>
              <a:gd name="adj" fmla="val 50000"/>
            </a:avLst>
          </a:prstGeom>
          <a:solidFill>
            <a:srgbClr val="197519">
              <a:alpha val="71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sp>
        <p:nvSpPr>
          <p:cNvPr id="2" name="矩形 1"/>
          <p:cNvSpPr>
            <a:spLocks noChangeArrowheads="1"/>
          </p:cNvSpPr>
          <p:nvPr/>
        </p:nvSpPr>
        <p:spPr bwMode="auto">
          <a:xfrm>
            <a:off x="1129030" y="403860"/>
            <a:ext cx="5290058" cy="58356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a:spAutoFit/>
          </a:bodyPr>
          <a:lstStyle/>
          <a:p>
            <a:pPr lvl="0">
              <a:buClrTx/>
              <a:buSzTx/>
              <a:buFontTx/>
            </a:pPr>
            <a:r>
              <a:rPr lang="en-US" altLang="zh-CN" sz="3200" b="1" dirty="0">
                <a:solidFill>
                  <a:srgbClr val="197519"/>
                </a:solidFill>
                <a:latin typeface="Calibri" panose="020F0502020204030204" pitchFamily="34" charset="0"/>
                <a:cs typeface="Calibri" panose="020F0502020204030204" pitchFamily="34" charset="0"/>
                <a:sym typeface="+mn-ea"/>
              </a:rPr>
              <a:t>Sustainability Audit Execution</a:t>
            </a:r>
          </a:p>
        </p:txBody>
      </p:sp>
      <p:graphicFrame>
        <p:nvGraphicFramePr>
          <p:cNvPr id="10" name="图示 9"/>
          <p:cNvGraphicFramePr/>
          <p:nvPr/>
        </p:nvGraphicFramePr>
        <p:xfrm>
          <a:off x="1025525" y="977156"/>
          <a:ext cx="10125716" cy="529205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8" name="等腰三角形 27"/>
          <p:cNvSpPr>
            <a:spLocks noChangeArrowheads="1"/>
          </p:cNvSpPr>
          <p:nvPr/>
        </p:nvSpPr>
        <p:spPr bwMode="auto">
          <a:xfrm rot="9233090">
            <a:off x="11153775" y="6661150"/>
            <a:ext cx="122238" cy="104775"/>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29" name="等腰三角形 28"/>
          <p:cNvSpPr>
            <a:spLocks noChangeArrowheads="1"/>
          </p:cNvSpPr>
          <p:nvPr/>
        </p:nvSpPr>
        <p:spPr bwMode="auto">
          <a:xfrm rot="-6030424">
            <a:off x="10913269" y="6634956"/>
            <a:ext cx="180975" cy="157163"/>
          </a:xfrm>
          <a:prstGeom prst="triangle">
            <a:avLst>
              <a:gd name="adj" fmla="val 50000"/>
            </a:avLst>
          </a:prstGeom>
          <a:solidFill>
            <a:srgbClr val="309030"/>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30" name="等腰三角形 29"/>
          <p:cNvSpPr>
            <a:spLocks noChangeArrowheads="1"/>
          </p:cNvSpPr>
          <p:nvPr/>
        </p:nvSpPr>
        <p:spPr bwMode="auto">
          <a:xfrm rot="-228606">
            <a:off x="11368088" y="6643688"/>
            <a:ext cx="122237" cy="104775"/>
          </a:xfrm>
          <a:prstGeom prst="triangle">
            <a:avLst>
              <a:gd name="adj" fmla="val 50000"/>
            </a:avLst>
          </a:prstGeom>
          <a:solidFill>
            <a:srgbClr val="2B7E2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31" name="等腰三角形 30"/>
          <p:cNvSpPr>
            <a:spLocks noChangeArrowheads="1"/>
          </p:cNvSpPr>
          <p:nvPr/>
        </p:nvSpPr>
        <p:spPr bwMode="auto">
          <a:xfrm rot="-3389783">
            <a:off x="11107738" y="6572250"/>
            <a:ext cx="58737" cy="49213"/>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32" name="等腰三角形 31"/>
          <p:cNvSpPr>
            <a:spLocks noChangeArrowheads="1"/>
          </p:cNvSpPr>
          <p:nvPr/>
        </p:nvSpPr>
        <p:spPr bwMode="auto">
          <a:xfrm rot="8748521">
            <a:off x="11296650" y="6657975"/>
            <a:ext cx="58738" cy="49213"/>
          </a:xfrm>
          <a:prstGeom prst="triangle">
            <a:avLst>
              <a:gd name="adj" fmla="val 50000"/>
            </a:avLst>
          </a:prstGeom>
          <a:solidFill>
            <a:srgbClr val="559551"/>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40" name="等腰三角形 39"/>
          <p:cNvSpPr>
            <a:spLocks noChangeArrowheads="1"/>
          </p:cNvSpPr>
          <p:nvPr/>
        </p:nvSpPr>
        <p:spPr bwMode="auto">
          <a:xfrm>
            <a:off x="196850" y="360363"/>
            <a:ext cx="563563" cy="485775"/>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sp>
        <p:nvSpPr>
          <p:cNvPr id="41" name="等腰三角形 40"/>
          <p:cNvSpPr>
            <a:spLocks noChangeArrowheads="1"/>
          </p:cNvSpPr>
          <p:nvPr/>
        </p:nvSpPr>
        <p:spPr bwMode="auto">
          <a:xfrm>
            <a:off x="760413" y="696913"/>
            <a:ext cx="265112" cy="228600"/>
          </a:xfrm>
          <a:prstGeom prst="triangle">
            <a:avLst>
              <a:gd name="adj" fmla="val 50000"/>
            </a:avLst>
          </a:prstGeom>
          <a:solidFill>
            <a:srgbClr val="197519">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sp>
        <p:nvSpPr>
          <p:cNvPr id="42" name="等腰三角形 41"/>
          <p:cNvSpPr>
            <a:spLocks noChangeArrowheads="1"/>
          </p:cNvSpPr>
          <p:nvPr/>
        </p:nvSpPr>
        <p:spPr bwMode="auto">
          <a:xfrm flipH="1">
            <a:off x="630238" y="469900"/>
            <a:ext cx="85725" cy="74613"/>
          </a:xfrm>
          <a:prstGeom prst="triangle">
            <a:avLst>
              <a:gd name="adj" fmla="val 50000"/>
            </a:avLst>
          </a:prstGeom>
          <a:solidFill>
            <a:srgbClr val="197519">
              <a:alpha val="46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sp>
        <p:nvSpPr>
          <p:cNvPr id="43" name="等腰三角形 42"/>
          <p:cNvSpPr>
            <a:spLocks noChangeArrowheads="1"/>
          </p:cNvSpPr>
          <p:nvPr/>
        </p:nvSpPr>
        <p:spPr bwMode="auto">
          <a:xfrm>
            <a:off x="833438" y="490538"/>
            <a:ext cx="177800" cy="152400"/>
          </a:xfrm>
          <a:prstGeom prst="triangle">
            <a:avLst>
              <a:gd name="adj" fmla="val 50000"/>
            </a:avLst>
          </a:prstGeom>
          <a:solidFill>
            <a:srgbClr val="197519">
              <a:alpha val="71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sp>
        <p:nvSpPr>
          <p:cNvPr id="2" name="矩形 1"/>
          <p:cNvSpPr>
            <a:spLocks noChangeArrowheads="1"/>
          </p:cNvSpPr>
          <p:nvPr/>
        </p:nvSpPr>
        <p:spPr bwMode="auto">
          <a:xfrm>
            <a:off x="1129030" y="403860"/>
            <a:ext cx="5290058" cy="58356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a:spAutoFit/>
          </a:bodyPr>
          <a:lstStyle/>
          <a:p>
            <a:pPr lvl="0">
              <a:buClrTx/>
              <a:buSzTx/>
              <a:buFontTx/>
            </a:pPr>
            <a:r>
              <a:rPr lang="en-US" altLang="zh-CN" sz="3200" b="1" dirty="0">
                <a:solidFill>
                  <a:srgbClr val="197519"/>
                </a:solidFill>
                <a:latin typeface="Calibri" panose="020F0502020204030204" pitchFamily="34" charset="0"/>
                <a:cs typeface="Calibri" panose="020F0502020204030204" pitchFamily="34" charset="0"/>
                <a:sym typeface="+mn-ea"/>
              </a:rPr>
              <a:t>Sustainability Audit Execution</a:t>
            </a:r>
          </a:p>
        </p:txBody>
      </p:sp>
      <p:graphicFrame>
        <p:nvGraphicFramePr>
          <p:cNvPr id="10" name="图示 9"/>
          <p:cNvGraphicFramePr/>
          <p:nvPr/>
        </p:nvGraphicFramePr>
        <p:xfrm>
          <a:off x="1025525" y="977156"/>
          <a:ext cx="10125716" cy="529205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9" name="等腰三角形 38"/>
          <p:cNvSpPr>
            <a:spLocks noChangeArrowheads="1"/>
          </p:cNvSpPr>
          <p:nvPr/>
        </p:nvSpPr>
        <p:spPr bwMode="auto">
          <a:xfrm rot="9233090">
            <a:off x="11147425" y="6661150"/>
            <a:ext cx="120650" cy="104775"/>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chemeClr val="accent1"/>
              </a:solidFill>
              <a:latin typeface="Calibri" panose="020F0502020204030204" pitchFamily="34" charset="0"/>
              <a:ea typeface="幼圆" pitchFamily="49" charset="-122"/>
            </a:endParaRPr>
          </a:p>
        </p:txBody>
      </p:sp>
      <p:sp>
        <p:nvSpPr>
          <p:cNvPr id="40" name="等腰三角形 39"/>
          <p:cNvSpPr>
            <a:spLocks noChangeArrowheads="1"/>
          </p:cNvSpPr>
          <p:nvPr/>
        </p:nvSpPr>
        <p:spPr bwMode="auto">
          <a:xfrm rot="-6030424">
            <a:off x="10905331" y="6634957"/>
            <a:ext cx="180975" cy="157162"/>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chemeClr val="accent1"/>
              </a:solidFill>
              <a:latin typeface="Calibri" panose="020F0502020204030204" pitchFamily="34" charset="0"/>
              <a:ea typeface="幼圆" pitchFamily="49" charset="-122"/>
            </a:endParaRPr>
          </a:p>
        </p:txBody>
      </p:sp>
      <p:sp>
        <p:nvSpPr>
          <p:cNvPr id="41" name="等腰三角形 40"/>
          <p:cNvSpPr>
            <a:spLocks noChangeArrowheads="1"/>
          </p:cNvSpPr>
          <p:nvPr/>
        </p:nvSpPr>
        <p:spPr bwMode="auto">
          <a:xfrm rot="-228606">
            <a:off x="11360150" y="6643688"/>
            <a:ext cx="122238" cy="104775"/>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chemeClr val="accent1"/>
              </a:solidFill>
              <a:latin typeface="Calibri" panose="020F0502020204030204" pitchFamily="34" charset="0"/>
              <a:ea typeface="幼圆" pitchFamily="49" charset="-122"/>
            </a:endParaRPr>
          </a:p>
        </p:txBody>
      </p:sp>
      <p:sp>
        <p:nvSpPr>
          <p:cNvPr id="42" name="等腰三角形 41"/>
          <p:cNvSpPr>
            <a:spLocks noChangeArrowheads="1"/>
          </p:cNvSpPr>
          <p:nvPr/>
        </p:nvSpPr>
        <p:spPr bwMode="auto">
          <a:xfrm rot="-3389783">
            <a:off x="11100594" y="6571457"/>
            <a:ext cx="58737" cy="50800"/>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chemeClr val="accent1"/>
              </a:solidFill>
              <a:latin typeface="Calibri" panose="020F0502020204030204" pitchFamily="34" charset="0"/>
              <a:ea typeface="幼圆" pitchFamily="49" charset="-122"/>
            </a:endParaRPr>
          </a:p>
        </p:txBody>
      </p:sp>
      <p:sp>
        <p:nvSpPr>
          <p:cNvPr id="43" name="等腰三角形 42"/>
          <p:cNvSpPr>
            <a:spLocks noChangeArrowheads="1"/>
          </p:cNvSpPr>
          <p:nvPr/>
        </p:nvSpPr>
        <p:spPr bwMode="auto">
          <a:xfrm rot="8748521">
            <a:off x="11290300" y="6657975"/>
            <a:ext cx="58738" cy="49213"/>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chemeClr val="accent1"/>
              </a:solidFill>
              <a:latin typeface="Calibri" panose="020F0502020204030204" pitchFamily="34" charset="0"/>
              <a:ea typeface="幼圆" pitchFamily="49" charset="-122"/>
            </a:endParaRPr>
          </a:p>
        </p:txBody>
      </p:sp>
      <p:sp>
        <p:nvSpPr>
          <p:cNvPr id="4" name="弧形 3"/>
          <p:cNvSpPr/>
          <p:nvPr/>
        </p:nvSpPr>
        <p:spPr>
          <a:xfrm>
            <a:off x="749300" y="1665288"/>
            <a:ext cx="4248150" cy="4602162"/>
          </a:xfrm>
          <a:prstGeom prst="arc">
            <a:avLst>
              <a:gd name="adj1" fmla="val 17337751"/>
              <a:gd name="adj2" fmla="val 4126310"/>
            </a:avLst>
          </a:prstGeom>
          <a:ln w="66675">
            <a:solidFill>
              <a:srgbClr val="197519"/>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endParaRPr lang="zh-CN" altLang="en-US" noProof="1"/>
          </a:p>
        </p:txBody>
      </p:sp>
      <p:sp>
        <p:nvSpPr>
          <p:cNvPr id="50" name="Arc 3_1"/>
          <p:cNvSpPr/>
          <p:nvPr/>
        </p:nvSpPr>
        <p:spPr>
          <a:xfrm flipH="1">
            <a:off x="95250" y="1665288"/>
            <a:ext cx="4248150" cy="4602162"/>
          </a:xfrm>
          <a:prstGeom prst="arc">
            <a:avLst>
              <a:gd name="adj1" fmla="val 17337751"/>
              <a:gd name="adj2" fmla="val 4126310"/>
            </a:avLst>
          </a:prstGeom>
          <a:ln w="66675">
            <a:solidFill>
              <a:srgbClr val="197519"/>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endParaRPr lang="zh-CN" altLang="en-US" noProof="1"/>
          </a:p>
        </p:txBody>
      </p:sp>
      <p:sp>
        <p:nvSpPr>
          <p:cNvPr id="6" name="矩形 5"/>
          <p:cNvSpPr>
            <a:spLocks noChangeArrowheads="1"/>
          </p:cNvSpPr>
          <p:nvPr/>
        </p:nvSpPr>
        <p:spPr bwMode="auto">
          <a:xfrm>
            <a:off x="5614035" y="1372870"/>
            <a:ext cx="5871845" cy="70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latinLnBrk="1">
              <a:lnSpc>
                <a:spcPct val="125000"/>
              </a:lnSpc>
            </a:pPr>
            <a:r>
              <a:rPr lang="en-US" altLang="zh-CN" sz="3200" b="1" dirty="0">
                <a:solidFill>
                  <a:schemeClr val="accent1"/>
                </a:solidFill>
                <a:latin typeface="Calibri" panose="020F0502020204030204" pitchFamily="34" charset="0"/>
                <a:cs typeface="Calibri" panose="020F0502020204030204" pitchFamily="34" charset="0"/>
              </a:rPr>
              <a:t>Zero-tolerance Non-Conformance </a:t>
            </a:r>
          </a:p>
        </p:txBody>
      </p:sp>
      <p:sp>
        <p:nvSpPr>
          <p:cNvPr id="31" name="矩形 30"/>
          <p:cNvSpPr>
            <a:spLocks noChangeArrowheads="1"/>
          </p:cNvSpPr>
          <p:nvPr/>
        </p:nvSpPr>
        <p:spPr bwMode="auto">
          <a:xfrm>
            <a:off x="6094095" y="2669540"/>
            <a:ext cx="5784215" cy="70675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a:spAutoFit/>
          </a:bodyPr>
          <a:lstStyle/>
          <a:p>
            <a:pPr lvl="0" algn="l" latinLnBrk="1">
              <a:lnSpc>
                <a:spcPct val="125000"/>
              </a:lnSpc>
              <a:buClrTx/>
              <a:buSzTx/>
              <a:buFontTx/>
            </a:pPr>
            <a:r>
              <a:rPr lang="en-US" altLang="zh-CN" sz="3200" b="1" dirty="0">
                <a:solidFill>
                  <a:schemeClr val="accent1"/>
                </a:solidFill>
                <a:latin typeface="Calibri" panose="020F0502020204030204" pitchFamily="34" charset="0"/>
                <a:cs typeface="Calibri" panose="020F0502020204030204" pitchFamily="34" charset="0"/>
                <a:sym typeface="+mn-ea"/>
              </a:rPr>
              <a:t>Critical Non-Conformance</a:t>
            </a:r>
          </a:p>
        </p:txBody>
      </p:sp>
      <p:sp>
        <p:nvSpPr>
          <p:cNvPr id="2" name="椭圆 1"/>
          <p:cNvSpPr>
            <a:spLocks noChangeArrowheads="1"/>
          </p:cNvSpPr>
          <p:nvPr/>
        </p:nvSpPr>
        <p:spPr bwMode="auto">
          <a:xfrm>
            <a:off x="385763" y="1803400"/>
            <a:ext cx="4297362" cy="4298950"/>
          </a:xfrm>
          <a:prstGeom prst="ellipse">
            <a:avLst/>
          </a:prstGeom>
          <a:solidFill>
            <a:srgbClr val="197519"/>
          </a:solidFill>
          <a:ln>
            <a:noFill/>
          </a:ln>
          <a:extLst>
            <a:ext uri="{91240B29-F687-4F45-9708-019B960494DF}">
              <a14:hiddenLine xmlns:a14="http://schemas.microsoft.com/office/drawing/2010/main" w="9525">
                <a:solidFill>
                  <a:srgbClr val="000000"/>
                </a:solidFill>
                <a:round/>
              </a14:hiddenLine>
            </a:ext>
          </a:extLst>
        </p:spPr>
        <p:txBody>
          <a:bodyPr/>
          <a:lstStyle/>
          <a:p>
            <a:pPr algn="ctr"/>
            <a:endParaRPr lang="en-US" altLang="zh-CN" dirty="0">
              <a:solidFill>
                <a:schemeClr val="bg1">
                  <a:lumMod val="95000"/>
                </a:schemeClr>
              </a:solidFill>
              <a:latin typeface="Calibri" panose="020F0502020204030204" pitchFamily="34" charset="0"/>
              <a:cs typeface="Calibri" panose="020F0502020204030204" pitchFamily="34" charset="0"/>
            </a:endParaRPr>
          </a:p>
          <a:p>
            <a:pPr algn="ctr"/>
            <a:endParaRPr lang="en-US" altLang="zh-CN" dirty="0">
              <a:solidFill>
                <a:schemeClr val="bg1">
                  <a:lumMod val="95000"/>
                </a:schemeClr>
              </a:solidFill>
              <a:latin typeface="Calibri" panose="020F0502020204030204" pitchFamily="34" charset="0"/>
              <a:cs typeface="Calibri" panose="020F0502020204030204" pitchFamily="34" charset="0"/>
            </a:endParaRPr>
          </a:p>
          <a:p>
            <a:pPr algn="ctr"/>
            <a:endParaRPr lang="en-US" altLang="zh-CN" dirty="0">
              <a:solidFill>
                <a:schemeClr val="bg1">
                  <a:lumMod val="95000"/>
                </a:schemeClr>
              </a:solidFill>
              <a:latin typeface="Calibri" panose="020F0502020204030204" pitchFamily="34" charset="0"/>
              <a:cs typeface="Calibri" panose="020F0502020204030204" pitchFamily="34" charset="0"/>
            </a:endParaRPr>
          </a:p>
          <a:p>
            <a:pPr algn="ctr"/>
            <a:endParaRPr lang="en-US" altLang="zh-CN" dirty="0">
              <a:solidFill>
                <a:schemeClr val="bg1">
                  <a:lumMod val="95000"/>
                </a:schemeClr>
              </a:solidFill>
              <a:latin typeface="Calibri" panose="020F0502020204030204" pitchFamily="34" charset="0"/>
              <a:cs typeface="Calibri" panose="020F0502020204030204" pitchFamily="34" charset="0"/>
            </a:endParaRPr>
          </a:p>
          <a:p>
            <a:pPr algn="ctr"/>
            <a:r>
              <a:rPr lang="en-US" altLang="zh-CN" sz="2800" dirty="0">
                <a:solidFill>
                  <a:schemeClr val="bg1">
                    <a:lumMod val="95000"/>
                  </a:schemeClr>
                </a:solidFill>
                <a:latin typeface="Calibri" panose="020F0502020204030204" pitchFamily="34" charset="0"/>
                <a:cs typeface="Calibri" panose="020F0502020204030204" pitchFamily="34" charset="0"/>
              </a:rPr>
              <a:t>non-conformances category </a:t>
            </a:r>
          </a:p>
        </p:txBody>
      </p:sp>
      <p:grpSp>
        <p:nvGrpSpPr>
          <p:cNvPr id="14" name="组合 13"/>
          <p:cNvGrpSpPr/>
          <p:nvPr/>
        </p:nvGrpSpPr>
        <p:grpSpPr bwMode="auto">
          <a:xfrm>
            <a:off x="3649658" y="1362581"/>
            <a:ext cx="1733550" cy="1263650"/>
            <a:chOff x="3856882" y="1805041"/>
            <a:chExt cx="1734682" cy="1262903"/>
          </a:xfrm>
        </p:grpSpPr>
        <p:grpSp>
          <p:nvGrpSpPr>
            <p:cNvPr id="10259" name="组合 8"/>
            <p:cNvGrpSpPr/>
            <p:nvPr/>
          </p:nvGrpSpPr>
          <p:grpSpPr bwMode="auto">
            <a:xfrm>
              <a:off x="4635110" y="1805041"/>
              <a:ext cx="956454" cy="907644"/>
              <a:chOff x="4635110" y="1805041"/>
              <a:chExt cx="956454" cy="907644"/>
            </a:xfrm>
          </p:grpSpPr>
          <p:sp>
            <p:nvSpPr>
              <p:cNvPr id="10260" name="等腰三角形 4"/>
              <p:cNvSpPr>
                <a:spLocks noChangeArrowheads="1"/>
              </p:cNvSpPr>
              <p:nvPr/>
            </p:nvSpPr>
            <p:spPr bwMode="auto">
              <a:xfrm>
                <a:off x="4635110" y="1805041"/>
                <a:ext cx="956454" cy="824528"/>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0261" name="文本框 27"/>
              <p:cNvSpPr txBox="1">
                <a:spLocks noChangeArrowheads="1"/>
              </p:cNvSpPr>
              <p:nvPr/>
            </p:nvSpPr>
            <p:spPr bwMode="auto">
              <a:xfrm>
                <a:off x="4676256" y="2066354"/>
                <a:ext cx="91530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3600" dirty="0">
                    <a:solidFill>
                      <a:schemeClr val="bg1"/>
                    </a:solidFill>
                  </a:rPr>
                  <a:t>01</a:t>
                </a:r>
                <a:endParaRPr lang="zh-CN" altLang="en-US" sz="3600" dirty="0">
                  <a:solidFill>
                    <a:schemeClr val="bg1"/>
                  </a:solidFill>
                  <a:ea typeface="方正粗倩简体" pitchFamily="65" charset="-122"/>
                </a:endParaRPr>
              </a:p>
            </p:txBody>
          </p:sp>
        </p:grpSp>
        <p:sp>
          <p:nvSpPr>
            <p:cNvPr id="13" name="矩形 12"/>
            <p:cNvSpPr/>
            <p:nvPr/>
          </p:nvSpPr>
          <p:spPr>
            <a:xfrm rot="19804025">
              <a:off x="3856882" y="2198508"/>
              <a:ext cx="1580594" cy="86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grpSp>
        <p:nvGrpSpPr>
          <p:cNvPr id="15" name="组合 14"/>
          <p:cNvGrpSpPr/>
          <p:nvPr/>
        </p:nvGrpSpPr>
        <p:grpSpPr bwMode="auto">
          <a:xfrm>
            <a:off x="4235287" y="2565891"/>
            <a:ext cx="1855788" cy="962025"/>
            <a:chOff x="4279404" y="3368896"/>
            <a:chExt cx="1855551" cy="962445"/>
          </a:xfrm>
        </p:grpSpPr>
        <p:grpSp>
          <p:nvGrpSpPr>
            <p:cNvPr id="10264" name="组合 9"/>
            <p:cNvGrpSpPr/>
            <p:nvPr/>
          </p:nvGrpSpPr>
          <p:grpSpPr bwMode="auto">
            <a:xfrm>
              <a:off x="5103518" y="3368896"/>
              <a:ext cx="1031437" cy="856514"/>
              <a:chOff x="5103518" y="3368896"/>
              <a:chExt cx="1031437" cy="856514"/>
            </a:xfrm>
          </p:grpSpPr>
          <p:sp>
            <p:nvSpPr>
              <p:cNvPr id="10265" name="等腰三角形 21"/>
              <p:cNvSpPr>
                <a:spLocks noChangeArrowheads="1"/>
              </p:cNvSpPr>
              <p:nvPr/>
            </p:nvSpPr>
            <p:spPr bwMode="auto">
              <a:xfrm rot="1800000">
                <a:off x="5178501" y="3368896"/>
                <a:ext cx="956454" cy="824528"/>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0266" name="文本框 29"/>
              <p:cNvSpPr txBox="1">
                <a:spLocks noChangeArrowheads="1"/>
              </p:cNvSpPr>
              <p:nvPr/>
            </p:nvSpPr>
            <p:spPr bwMode="auto">
              <a:xfrm>
                <a:off x="5103518" y="3579079"/>
                <a:ext cx="91530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3600" dirty="0">
                    <a:solidFill>
                      <a:schemeClr val="bg1"/>
                    </a:solidFill>
                  </a:rPr>
                  <a:t>02</a:t>
                </a:r>
                <a:endParaRPr lang="zh-CN" altLang="en-US" sz="3600" dirty="0">
                  <a:solidFill>
                    <a:schemeClr val="bg1"/>
                  </a:solidFill>
                  <a:ea typeface="方正粗倩简体" pitchFamily="65" charset="-122"/>
                </a:endParaRPr>
              </a:p>
            </p:txBody>
          </p:sp>
        </p:grpSp>
        <p:sp>
          <p:nvSpPr>
            <p:cNvPr id="51" name="矩形 50"/>
            <p:cNvSpPr/>
            <p:nvPr/>
          </p:nvSpPr>
          <p:spPr>
            <a:xfrm>
              <a:off x="4279404" y="3462600"/>
              <a:ext cx="1580948" cy="8687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grpSp>
        <p:nvGrpSpPr>
          <p:cNvPr id="16" name="组合 15"/>
          <p:cNvGrpSpPr/>
          <p:nvPr/>
        </p:nvGrpSpPr>
        <p:grpSpPr bwMode="auto">
          <a:xfrm>
            <a:off x="4343559" y="3831253"/>
            <a:ext cx="1763712" cy="1112838"/>
            <a:chOff x="3976330" y="4762614"/>
            <a:chExt cx="1764377" cy="1113179"/>
          </a:xfrm>
        </p:grpSpPr>
        <p:grpSp>
          <p:nvGrpSpPr>
            <p:cNvPr id="10269" name="组合 11"/>
            <p:cNvGrpSpPr/>
            <p:nvPr/>
          </p:nvGrpSpPr>
          <p:grpSpPr bwMode="auto">
            <a:xfrm>
              <a:off x="4735934" y="4919339"/>
              <a:ext cx="1004773" cy="956454"/>
              <a:chOff x="4735934" y="4919339"/>
              <a:chExt cx="1004773" cy="956454"/>
            </a:xfrm>
          </p:grpSpPr>
          <p:sp>
            <p:nvSpPr>
              <p:cNvPr id="10270" name="等腰三角形 22"/>
              <p:cNvSpPr>
                <a:spLocks noChangeArrowheads="1"/>
              </p:cNvSpPr>
              <p:nvPr/>
            </p:nvSpPr>
            <p:spPr bwMode="auto">
              <a:xfrm rot="3600000">
                <a:off x="4850216" y="4985302"/>
                <a:ext cx="956454" cy="824528"/>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0271" name="文本框 28"/>
              <p:cNvSpPr txBox="1">
                <a:spLocks noChangeArrowheads="1"/>
              </p:cNvSpPr>
              <p:nvPr/>
            </p:nvSpPr>
            <p:spPr bwMode="auto">
              <a:xfrm>
                <a:off x="4735934" y="5120141"/>
                <a:ext cx="91530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3600" dirty="0">
                    <a:solidFill>
                      <a:schemeClr val="bg1"/>
                    </a:solidFill>
                  </a:rPr>
                  <a:t>03</a:t>
                </a:r>
                <a:endParaRPr lang="zh-CN" altLang="en-US" sz="3600" dirty="0">
                  <a:solidFill>
                    <a:schemeClr val="bg1"/>
                  </a:solidFill>
                  <a:ea typeface="方正粗倩简体" pitchFamily="65" charset="-122"/>
                </a:endParaRPr>
              </a:p>
            </p:txBody>
          </p:sp>
        </p:grpSp>
        <p:sp>
          <p:nvSpPr>
            <p:cNvPr id="52" name="矩形 51"/>
            <p:cNvSpPr/>
            <p:nvPr/>
          </p:nvSpPr>
          <p:spPr>
            <a:xfrm rot="1795975" flipH="1">
              <a:off x="3976330" y="4762614"/>
              <a:ext cx="1581746" cy="870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sp>
        <p:nvSpPr>
          <p:cNvPr id="53" name="矩形 52"/>
          <p:cNvSpPr>
            <a:spLocks noChangeArrowheads="1"/>
          </p:cNvSpPr>
          <p:nvPr/>
        </p:nvSpPr>
        <p:spPr bwMode="auto">
          <a:xfrm>
            <a:off x="1078555" y="394918"/>
            <a:ext cx="6102985" cy="58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altLang="zh-CN" sz="3200" b="1" dirty="0">
                <a:solidFill>
                  <a:srgbClr val="197519"/>
                </a:solidFill>
                <a:latin typeface="Calibri" panose="020F0502020204030204" pitchFamily="34" charset="0"/>
                <a:cs typeface="Calibri" panose="020F0502020204030204" pitchFamily="34" charset="0"/>
              </a:rPr>
              <a:t>Classification of Non-Conformance </a:t>
            </a:r>
          </a:p>
        </p:txBody>
      </p:sp>
      <p:sp>
        <p:nvSpPr>
          <p:cNvPr id="54" name="等腰三角形 53"/>
          <p:cNvSpPr>
            <a:spLocks noChangeArrowheads="1"/>
          </p:cNvSpPr>
          <p:nvPr/>
        </p:nvSpPr>
        <p:spPr bwMode="auto">
          <a:xfrm>
            <a:off x="196850" y="360363"/>
            <a:ext cx="563563" cy="485775"/>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5" name="等腰三角形 54"/>
          <p:cNvSpPr>
            <a:spLocks noChangeArrowheads="1"/>
          </p:cNvSpPr>
          <p:nvPr/>
        </p:nvSpPr>
        <p:spPr bwMode="auto">
          <a:xfrm>
            <a:off x="760413" y="696913"/>
            <a:ext cx="265112" cy="228600"/>
          </a:xfrm>
          <a:prstGeom prst="triangle">
            <a:avLst>
              <a:gd name="adj" fmla="val 50000"/>
            </a:avLst>
          </a:prstGeom>
          <a:solidFill>
            <a:srgbClr val="197519">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6" name="等腰三角形 55"/>
          <p:cNvSpPr>
            <a:spLocks noChangeArrowheads="1"/>
          </p:cNvSpPr>
          <p:nvPr/>
        </p:nvSpPr>
        <p:spPr bwMode="auto">
          <a:xfrm flipH="1">
            <a:off x="630238" y="469900"/>
            <a:ext cx="85725" cy="74613"/>
          </a:xfrm>
          <a:prstGeom prst="triangle">
            <a:avLst>
              <a:gd name="adj" fmla="val 50000"/>
            </a:avLst>
          </a:prstGeom>
          <a:solidFill>
            <a:srgbClr val="197519">
              <a:alpha val="46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7" name="等腰三角形 56"/>
          <p:cNvSpPr>
            <a:spLocks noChangeArrowheads="1"/>
          </p:cNvSpPr>
          <p:nvPr/>
        </p:nvSpPr>
        <p:spPr bwMode="auto">
          <a:xfrm>
            <a:off x="833438" y="490538"/>
            <a:ext cx="177800" cy="152400"/>
          </a:xfrm>
          <a:prstGeom prst="triangle">
            <a:avLst>
              <a:gd name="adj" fmla="val 50000"/>
            </a:avLst>
          </a:prstGeom>
          <a:solidFill>
            <a:srgbClr val="197519">
              <a:alpha val="71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3" name="矩形 30"/>
          <p:cNvSpPr>
            <a:spLocks noChangeArrowheads="1"/>
          </p:cNvSpPr>
          <p:nvPr/>
        </p:nvSpPr>
        <p:spPr bwMode="auto">
          <a:xfrm>
            <a:off x="6194425" y="4124960"/>
            <a:ext cx="5575300" cy="70675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a:spAutoFit/>
          </a:bodyPr>
          <a:lstStyle/>
          <a:p>
            <a:pPr lvl="0" algn="l" latinLnBrk="1">
              <a:lnSpc>
                <a:spcPct val="125000"/>
              </a:lnSpc>
              <a:buClrTx/>
              <a:buSzTx/>
              <a:buFontTx/>
            </a:pPr>
            <a:r>
              <a:rPr lang="en-US" altLang="zh-CN" sz="3200" b="1" dirty="0">
                <a:solidFill>
                  <a:schemeClr val="accent1"/>
                </a:solidFill>
                <a:latin typeface="Calibri" panose="020F0502020204030204" pitchFamily="34" charset="0"/>
                <a:cs typeface="Calibri" panose="020F0502020204030204" pitchFamily="34" charset="0"/>
                <a:sym typeface="+mn-ea"/>
              </a:rPr>
              <a:t>Major Non-Conformance</a:t>
            </a:r>
          </a:p>
        </p:txBody>
      </p:sp>
      <p:grpSp>
        <p:nvGrpSpPr>
          <p:cNvPr id="3" name="组合 2"/>
          <p:cNvGrpSpPr/>
          <p:nvPr/>
        </p:nvGrpSpPr>
        <p:grpSpPr bwMode="auto">
          <a:xfrm>
            <a:off x="3810159" y="5156498"/>
            <a:ext cx="1763712" cy="1112838"/>
            <a:chOff x="3976330" y="4762614"/>
            <a:chExt cx="1764377" cy="1113179"/>
          </a:xfrm>
        </p:grpSpPr>
        <p:grpSp>
          <p:nvGrpSpPr>
            <p:cNvPr id="5" name="组合 11"/>
            <p:cNvGrpSpPr/>
            <p:nvPr/>
          </p:nvGrpSpPr>
          <p:grpSpPr bwMode="auto">
            <a:xfrm>
              <a:off x="4735934" y="4919339"/>
              <a:ext cx="1004773" cy="956454"/>
              <a:chOff x="4735934" y="4919339"/>
              <a:chExt cx="1004773" cy="956454"/>
            </a:xfrm>
          </p:grpSpPr>
          <p:sp>
            <p:nvSpPr>
              <p:cNvPr id="7" name="等腰三角形 22"/>
              <p:cNvSpPr>
                <a:spLocks noChangeArrowheads="1"/>
              </p:cNvSpPr>
              <p:nvPr/>
            </p:nvSpPr>
            <p:spPr bwMode="auto">
              <a:xfrm rot="3600000">
                <a:off x="4850216" y="4985302"/>
                <a:ext cx="956454" cy="824528"/>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8" name="文本框 28"/>
              <p:cNvSpPr txBox="1">
                <a:spLocks noChangeArrowheads="1"/>
              </p:cNvSpPr>
              <p:nvPr/>
            </p:nvSpPr>
            <p:spPr bwMode="auto">
              <a:xfrm>
                <a:off x="4735934" y="5120141"/>
                <a:ext cx="915308" cy="645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3600" dirty="0">
                    <a:solidFill>
                      <a:schemeClr val="bg1"/>
                    </a:solidFill>
                  </a:rPr>
                  <a:t>04</a:t>
                </a:r>
                <a:endParaRPr lang="zh-CN" altLang="en-US" sz="3600" dirty="0">
                  <a:solidFill>
                    <a:schemeClr val="bg1"/>
                  </a:solidFill>
                  <a:ea typeface="方正粗倩简体" pitchFamily="65" charset="-122"/>
                </a:endParaRPr>
              </a:p>
            </p:txBody>
          </p:sp>
        </p:grpSp>
        <p:sp>
          <p:nvSpPr>
            <p:cNvPr id="9" name="矩形 8"/>
            <p:cNvSpPr/>
            <p:nvPr/>
          </p:nvSpPr>
          <p:spPr>
            <a:xfrm rot="1795975" flipH="1">
              <a:off x="3976330" y="4762614"/>
              <a:ext cx="1581746" cy="870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sp>
        <p:nvSpPr>
          <p:cNvPr id="10" name="矩形 30"/>
          <p:cNvSpPr>
            <a:spLocks noChangeArrowheads="1"/>
          </p:cNvSpPr>
          <p:nvPr/>
        </p:nvSpPr>
        <p:spPr bwMode="auto">
          <a:xfrm>
            <a:off x="5796915" y="5582920"/>
            <a:ext cx="5575300" cy="70675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a:spAutoFit/>
          </a:bodyPr>
          <a:lstStyle/>
          <a:p>
            <a:pPr lvl="0" algn="l" latinLnBrk="1">
              <a:lnSpc>
                <a:spcPct val="125000"/>
              </a:lnSpc>
              <a:buClrTx/>
              <a:buSzTx/>
              <a:buFontTx/>
            </a:pPr>
            <a:r>
              <a:rPr lang="en-US" altLang="zh-CN" sz="3200" b="1" dirty="0">
                <a:solidFill>
                  <a:schemeClr val="accent1"/>
                </a:solidFill>
                <a:latin typeface="Calibri" panose="020F0502020204030204" pitchFamily="34" charset="0"/>
                <a:cs typeface="Calibri" panose="020F0502020204030204" pitchFamily="34" charset="0"/>
                <a:sym typeface="+mn-ea"/>
              </a:rPr>
              <a:t>Minor Non-Conformance</a:t>
            </a:r>
          </a:p>
        </p:txBody>
      </p:sp>
    </p:spTree>
  </p:cSld>
  <p:clrMapOvr>
    <a:masterClrMapping/>
  </p:clrMapOvr>
  <p:transition spd="slow">
    <p:blinds dir="vert"/>
  </p:transition>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7409" name="Freeform 99"/>
          <p:cNvSpPr>
            <a:spLocks noChangeArrowheads="1"/>
          </p:cNvSpPr>
          <p:nvPr/>
        </p:nvSpPr>
        <p:spPr bwMode="auto">
          <a:xfrm>
            <a:off x="690563" y="2089150"/>
            <a:ext cx="1127125" cy="931863"/>
          </a:xfrm>
          <a:custGeom>
            <a:avLst/>
            <a:gdLst>
              <a:gd name="T0" fmla="*/ 142 w 710"/>
              <a:gd name="T1" fmla="*/ 587 h 587"/>
              <a:gd name="T2" fmla="*/ 710 w 710"/>
              <a:gd name="T3" fmla="*/ 587 h 587"/>
              <a:gd name="T4" fmla="*/ 710 w 710"/>
              <a:gd name="T5" fmla="*/ 0 h 587"/>
              <a:gd name="T6" fmla="*/ 142 w 710"/>
              <a:gd name="T7" fmla="*/ 0 h 587"/>
              <a:gd name="T8" fmla="*/ 0 w 710"/>
              <a:gd name="T9" fmla="*/ 293 h 587"/>
              <a:gd name="T10" fmla="*/ 142 w 710"/>
              <a:gd name="T11" fmla="*/ 587 h 587"/>
            </a:gdLst>
            <a:ahLst/>
            <a:cxnLst>
              <a:cxn ang="0">
                <a:pos x="T0" y="T1"/>
              </a:cxn>
              <a:cxn ang="0">
                <a:pos x="T2" y="T3"/>
              </a:cxn>
              <a:cxn ang="0">
                <a:pos x="T4" y="T5"/>
              </a:cxn>
              <a:cxn ang="0">
                <a:pos x="T6" y="T7"/>
              </a:cxn>
              <a:cxn ang="0">
                <a:pos x="T8" y="T9"/>
              </a:cxn>
              <a:cxn ang="0">
                <a:pos x="T10" y="T11"/>
              </a:cxn>
            </a:cxnLst>
            <a:rect l="0" t="0" r="r" b="b"/>
            <a:pathLst>
              <a:path w="710" h="587">
                <a:moveTo>
                  <a:pt x="142" y="587"/>
                </a:moveTo>
                <a:lnTo>
                  <a:pt x="710" y="587"/>
                </a:lnTo>
                <a:lnTo>
                  <a:pt x="710" y="0"/>
                </a:lnTo>
                <a:lnTo>
                  <a:pt x="142" y="0"/>
                </a:lnTo>
                <a:lnTo>
                  <a:pt x="0" y="293"/>
                </a:lnTo>
                <a:lnTo>
                  <a:pt x="142" y="5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7410" name="Freeform 108"/>
          <p:cNvSpPr>
            <a:spLocks noChangeArrowheads="1"/>
          </p:cNvSpPr>
          <p:nvPr/>
        </p:nvSpPr>
        <p:spPr bwMode="auto">
          <a:xfrm>
            <a:off x="9564688" y="2922588"/>
            <a:ext cx="1127125" cy="931862"/>
          </a:xfrm>
          <a:custGeom>
            <a:avLst/>
            <a:gdLst>
              <a:gd name="T0" fmla="*/ 566 w 710"/>
              <a:gd name="T1" fmla="*/ 0 h 587"/>
              <a:gd name="T2" fmla="*/ 0 w 710"/>
              <a:gd name="T3" fmla="*/ 0 h 587"/>
              <a:gd name="T4" fmla="*/ 0 w 710"/>
              <a:gd name="T5" fmla="*/ 587 h 587"/>
              <a:gd name="T6" fmla="*/ 566 w 710"/>
              <a:gd name="T7" fmla="*/ 587 h 587"/>
              <a:gd name="T8" fmla="*/ 710 w 710"/>
              <a:gd name="T9" fmla="*/ 293 h 587"/>
              <a:gd name="T10" fmla="*/ 566 w 710"/>
              <a:gd name="T11" fmla="*/ 0 h 587"/>
            </a:gdLst>
            <a:ahLst/>
            <a:cxnLst>
              <a:cxn ang="0">
                <a:pos x="T0" y="T1"/>
              </a:cxn>
              <a:cxn ang="0">
                <a:pos x="T2" y="T3"/>
              </a:cxn>
              <a:cxn ang="0">
                <a:pos x="T4" y="T5"/>
              </a:cxn>
              <a:cxn ang="0">
                <a:pos x="T6" y="T7"/>
              </a:cxn>
              <a:cxn ang="0">
                <a:pos x="T8" y="T9"/>
              </a:cxn>
              <a:cxn ang="0">
                <a:pos x="T10" y="T11"/>
              </a:cxn>
            </a:cxnLst>
            <a:rect l="0" t="0" r="r" b="b"/>
            <a:pathLst>
              <a:path w="710" h="587">
                <a:moveTo>
                  <a:pt x="566" y="0"/>
                </a:moveTo>
                <a:lnTo>
                  <a:pt x="0" y="0"/>
                </a:lnTo>
                <a:lnTo>
                  <a:pt x="0" y="587"/>
                </a:lnTo>
                <a:lnTo>
                  <a:pt x="566" y="587"/>
                </a:lnTo>
                <a:lnTo>
                  <a:pt x="710" y="293"/>
                </a:lnTo>
                <a:lnTo>
                  <a:pt x="5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nvGrpSpPr>
          <p:cNvPr id="4100" name="组合 4099"/>
          <p:cNvGrpSpPr/>
          <p:nvPr/>
        </p:nvGrpSpPr>
        <p:grpSpPr bwMode="auto">
          <a:xfrm>
            <a:off x="5003800" y="1835150"/>
            <a:ext cx="2184400" cy="3797300"/>
            <a:chOff x="5003800" y="1834716"/>
            <a:chExt cx="2184400" cy="3798169"/>
          </a:xfrm>
        </p:grpSpPr>
        <p:sp>
          <p:nvSpPr>
            <p:cNvPr id="15481" name="Freeform 5"/>
            <p:cNvSpPr>
              <a:spLocks noEditPoints="1"/>
            </p:cNvSpPr>
            <p:nvPr/>
          </p:nvSpPr>
          <p:spPr bwMode="auto">
            <a:xfrm>
              <a:off x="5003800" y="1834716"/>
              <a:ext cx="2184400" cy="3093158"/>
            </a:xfrm>
            <a:custGeom>
              <a:avLst/>
              <a:gdLst>
                <a:gd name="T0" fmla="*/ 1928 w 3840"/>
                <a:gd name="T1" fmla="*/ 0 h 5424"/>
                <a:gd name="T2" fmla="*/ 0 w 3840"/>
                <a:gd name="T3" fmla="*/ 1941 h 5424"/>
                <a:gd name="T4" fmla="*/ 633 w 3840"/>
                <a:gd name="T5" fmla="*/ 3500 h 5424"/>
                <a:gd name="T6" fmla="*/ 964 w 3840"/>
                <a:gd name="T7" fmla="*/ 5170 h 5424"/>
                <a:gd name="T8" fmla="*/ 1233 w 3840"/>
                <a:gd name="T9" fmla="*/ 5424 h 5424"/>
                <a:gd name="T10" fmla="*/ 2624 w 3840"/>
                <a:gd name="T11" fmla="*/ 5424 h 5424"/>
                <a:gd name="T12" fmla="*/ 2877 w 3840"/>
                <a:gd name="T13" fmla="*/ 5170 h 5424"/>
                <a:gd name="T14" fmla="*/ 3208 w 3840"/>
                <a:gd name="T15" fmla="*/ 3500 h 5424"/>
                <a:gd name="T16" fmla="*/ 3840 w 3840"/>
                <a:gd name="T17" fmla="*/ 1941 h 5424"/>
                <a:gd name="T18" fmla="*/ 1928 w 3840"/>
                <a:gd name="T19" fmla="*/ 0 h 5424"/>
                <a:gd name="T20" fmla="*/ 917 w 3840"/>
                <a:gd name="T21" fmla="*/ 2084 h 5424"/>
                <a:gd name="T22" fmla="*/ 1533 w 3840"/>
                <a:gd name="T23" fmla="*/ 1989 h 5424"/>
                <a:gd name="T24" fmla="*/ 1122 w 3840"/>
                <a:gd name="T25" fmla="*/ 1050 h 5424"/>
                <a:gd name="T26" fmla="*/ 2102 w 3840"/>
                <a:gd name="T27" fmla="*/ 780 h 5424"/>
                <a:gd name="T28" fmla="*/ 2655 w 3840"/>
                <a:gd name="T29" fmla="*/ 2561 h 5424"/>
                <a:gd name="T30" fmla="*/ 2165 w 3840"/>
                <a:gd name="T31" fmla="*/ 2609 h 5424"/>
                <a:gd name="T32" fmla="*/ 2703 w 3840"/>
                <a:gd name="T33" fmla="*/ 4152 h 5424"/>
                <a:gd name="T34" fmla="*/ 917 w 3840"/>
                <a:gd name="T35" fmla="*/ 2084 h 5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40" h="5424">
                  <a:moveTo>
                    <a:pt x="1928" y="0"/>
                  </a:moveTo>
                  <a:cubicBezTo>
                    <a:pt x="854" y="0"/>
                    <a:pt x="0" y="875"/>
                    <a:pt x="0" y="1941"/>
                  </a:cubicBezTo>
                  <a:cubicBezTo>
                    <a:pt x="0" y="2577"/>
                    <a:pt x="411" y="3134"/>
                    <a:pt x="633" y="3500"/>
                  </a:cubicBezTo>
                  <a:cubicBezTo>
                    <a:pt x="854" y="3850"/>
                    <a:pt x="964" y="5170"/>
                    <a:pt x="964" y="5170"/>
                  </a:cubicBezTo>
                  <a:cubicBezTo>
                    <a:pt x="964" y="5313"/>
                    <a:pt x="1075" y="5424"/>
                    <a:pt x="1233" y="5424"/>
                  </a:cubicBezTo>
                  <a:cubicBezTo>
                    <a:pt x="2624" y="5424"/>
                    <a:pt x="2624" y="5424"/>
                    <a:pt x="2624" y="5424"/>
                  </a:cubicBezTo>
                  <a:cubicBezTo>
                    <a:pt x="2766" y="5424"/>
                    <a:pt x="2877" y="5313"/>
                    <a:pt x="2877" y="5170"/>
                  </a:cubicBezTo>
                  <a:cubicBezTo>
                    <a:pt x="2877" y="5170"/>
                    <a:pt x="2987" y="3850"/>
                    <a:pt x="3208" y="3500"/>
                  </a:cubicBezTo>
                  <a:cubicBezTo>
                    <a:pt x="3430" y="3134"/>
                    <a:pt x="3840" y="2577"/>
                    <a:pt x="3840" y="1941"/>
                  </a:cubicBezTo>
                  <a:cubicBezTo>
                    <a:pt x="3840" y="875"/>
                    <a:pt x="2987" y="0"/>
                    <a:pt x="1928" y="0"/>
                  </a:cubicBezTo>
                  <a:close/>
                  <a:moveTo>
                    <a:pt x="917" y="2084"/>
                  </a:moveTo>
                  <a:cubicBezTo>
                    <a:pt x="1533" y="1989"/>
                    <a:pt x="1533" y="1989"/>
                    <a:pt x="1533" y="1989"/>
                  </a:cubicBezTo>
                  <a:cubicBezTo>
                    <a:pt x="1122" y="1050"/>
                    <a:pt x="1122" y="1050"/>
                    <a:pt x="1122" y="1050"/>
                  </a:cubicBezTo>
                  <a:cubicBezTo>
                    <a:pt x="2102" y="780"/>
                    <a:pt x="2102" y="780"/>
                    <a:pt x="2102" y="780"/>
                  </a:cubicBezTo>
                  <a:cubicBezTo>
                    <a:pt x="2655" y="2561"/>
                    <a:pt x="2655" y="2561"/>
                    <a:pt x="2655" y="2561"/>
                  </a:cubicBezTo>
                  <a:cubicBezTo>
                    <a:pt x="2165" y="2609"/>
                    <a:pt x="2165" y="2609"/>
                    <a:pt x="2165" y="2609"/>
                  </a:cubicBezTo>
                  <a:cubicBezTo>
                    <a:pt x="2703" y="4152"/>
                    <a:pt x="2703" y="4152"/>
                    <a:pt x="2703" y="4152"/>
                  </a:cubicBezTo>
                  <a:lnTo>
                    <a:pt x="917" y="2084"/>
                  </a:lnTo>
                  <a:close/>
                </a:path>
              </a:pathLst>
            </a:custGeom>
            <a:solidFill>
              <a:srgbClr val="219E21"/>
            </a:solidFill>
            <a:ln w="0">
              <a:noFill/>
              <a:prstDash val="solid"/>
              <a:round/>
            </a:ln>
            <a:effectLst>
              <a:outerShdw blurRad="50800" dist="38100" dir="2700000" algn="tl" rotWithShape="0">
                <a:prstClr val="black">
                  <a:alpha val="40000"/>
                </a:prstClr>
              </a:outerShdw>
            </a:effectLst>
          </p:spPr>
          <p:txBody>
            <a:bodyPr/>
            <a:lstStyle/>
            <a:p>
              <a:pPr fontAlgn="auto"/>
              <a:endParaRPr lang="zh-CN" altLang="en-US" noProof="1"/>
            </a:p>
          </p:txBody>
        </p:sp>
        <p:sp>
          <p:nvSpPr>
            <p:cNvPr id="15485" name="任意多边形 15484"/>
            <p:cNvSpPr/>
            <p:nvPr/>
          </p:nvSpPr>
          <p:spPr>
            <a:xfrm>
              <a:off x="5748338" y="5031085"/>
              <a:ext cx="700087" cy="233415"/>
            </a:xfrm>
            <a:custGeom>
              <a:avLst/>
              <a:gdLst>
                <a:gd name="connsiteX0" fmla="*/ 2381 w 700088"/>
                <a:gd name="connsiteY0" fmla="*/ 0 h 233363"/>
                <a:gd name="connsiteX1" fmla="*/ 688181 w 700088"/>
                <a:gd name="connsiteY1" fmla="*/ 0 h 233363"/>
                <a:gd name="connsiteX2" fmla="*/ 700088 w 700088"/>
                <a:gd name="connsiteY2" fmla="*/ 233363 h 233363"/>
                <a:gd name="connsiteX3" fmla="*/ 0 w 700088"/>
                <a:gd name="connsiteY3" fmla="*/ 78581 h 233363"/>
                <a:gd name="connsiteX4" fmla="*/ 2381 w 700088"/>
                <a:gd name="connsiteY4" fmla="*/ 0 h 233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088" h="233363">
                  <a:moveTo>
                    <a:pt x="2381" y="0"/>
                  </a:moveTo>
                  <a:lnTo>
                    <a:pt x="688181" y="0"/>
                  </a:lnTo>
                  <a:lnTo>
                    <a:pt x="700088" y="233363"/>
                  </a:lnTo>
                  <a:lnTo>
                    <a:pt x="0" y="78581"/>
                  </a:lnTo>
                  <a:cubicBezTo>
                    <a:pt x="794" y="52387"/>
                    <a:pt x="1587" y="26194"/>
                    <a:pt x="2381" y="0"/>
                  </a:cubicBezTo>
                  <a:close/>
                </a:path>
              </a:pathLst>
            </a:custGeom>
            <a:solidFill>
              <a:srgbClr val="19751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15486" name="任意多边形 15485"/>
            <p:cNvSpPr/>
            <p:nvPr/>
          </p:nvSpPr>
          <p:spPr>
            <a:xfrm>
              <a:off x="5740400" y="5183520"/>
              <a:ext cx="698500" cy="263585"/>
            </a:xfrm>
            <a:custGeom>
              <a:avLst/>
              <a:gdLst>
                <a:gd name="connsiteX0" fmla="*/ 697706 w 697706"/>
                <a:gd name="connsiteY0" fmla="*/ 264319 h 264319"/>
                <a:gd name="connsiteX1" fmla="*/ 695325 w 697706"/>
                <a:gd name="connsiteY1" fmla="*/ 135732 h 264319"/>
                <a:gd name="connsiteX2" fmla="*/ 0 w 697706"/>
                <a:gd name="connsiteY2" fmla="*/ 0 h 264319"/>
                <a:gd name="connsiteX3" fmla="*/ 2381 w 697706"/>
                <a:gd name="connsiteY3" fmla="*/ 133350 h 264319"/>
                <a:gd name="connsiteX4" fmla="*/ 697706 w 697706"/>
                <a:gd name="connsiteY4" fmla="*/ 264319 h 26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706" h="264319">
                  <a:moveTo>
                    <a:pt x="697706" y="264319"/>
                  </a:moveTo>
                  <a:cubicBezTo>
                    <a:pt x="696912" y="221457"/>
                    <a:pt x="696119" y="178594"/>
                    <a:pt x="695325" y="135732"/>
                  </a:cubicBezTo>
                  <a:lnTo>
                    <a:pt x="0" y="0"/>
                  </a:lnTo>
                  <a:cubicBezTo>
                    <a:pt x="794" y="44450"/>
                    <a:pt x="1587" y="88900"/>
                    <a:pt x="2381" y="133350"/>
                  </a:cubicBezTo>
                  <a:lnTo>
                    <a:pt x="697706" y="264319"/>
                  </a:lnTo>
                  <a:close/>
                </a:path>
              </a:pathLst>
            </a:custGeom>
            <a:solidFill>
              <a:srgbClr val="19751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15487" name="任意多边形 15486"/>
            <p:cNvSpPr/>
            <p:nvPr/>
          </p:nvSpPr>
          <p:spPr>
            <a:xfrm>
              <a:off x="5729288" y="5375651"/>
              <a:ext cx="604837" cy="257234"/>
            </a:xfrm>
            <a:custGeom>
              <a:avLst/>
              <a:gdLst>
                <a:gd name="connsiteX0" fmla="*/ 38100 w 604838"/>
                <a:gd name="connsiteY0" fmla="*/ 0 h 257175"/>
                <a:gd name="connsiteX1" fmla="*/ 604838 w 604838"/>
                <a:gd name="connsiteY1" fmla="*/ 119062 h 257175"/>
                <a:gd name="connsiteX2" fmla="*/ 581025 w 604838"/>
                <a:gd name="connsiteY2" fmla="*/ 197644 h 257175"/>
                <a:gd name="connsiteX3" fmla="*/ 578644 w 604838"/>
                <a:gd name="connsiteY3" fmla="*/ 254794 h 257175"/>
                <a:gd name="connsiteX4" fmla="*/ 173832 w 604838"/>
                <a:gd name="connsiteY4" fmla="*/ 257175 h 257175"/>
                <a:gd name="connsiteX5" fmla="*/ 130969 w 604838"/>
                <a:gd name="connsiteY5" fmla="*/ 97631 h 257175"/>
                <a:gd name="connsiteX6" fmla="*/ 21432 w 604838"/>
                <a:gd name="connsiteY6" fmla="*/ 100012 h 257175"/>
                <a:gd name="connsiteX7" fmla="*/ 0 w 604838"/>
                <a:gd name="connsiteY7" fmla="*/ 45244 h 257175"/>
                <a:gd name="connsiteX8" fmla="*/ 38100 w 604838"/>
                <a:gd name="connsiteY8"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4838" h="257175">
                  <a:moveTo>
                    <a:pt x="38100" y="0"/>
                  </a:moveTo>
                  <a:lnTo>
                    <a:pt x="604838" y="119062"/>
                  </a:lnTo>
                  <a:lnTo>
                    <a:pt x="581025" y="197644"/>
                  </a:lnTo>
                  <a:cubicBezTo>
                    <a:pt x="580231" y="216694"/>
                    <a:pt x="579438" y="235744"/>
                    <a:pt x="578644" y="254794"/>
                  </a:cubicBezTo>
                  <a:lnTo>
                    <a:pt x="173832" y="257175"/>
                  </a:lnTo>
                  <a:lnTo>
                    <a:pt x="130969" y="97631"/>
                  </a:lnTo>
                  <a:lnTo>
                    <a:pt x="21432" y="100012"/>
                  </a:lnTo>
                  <a:lnTo>
                    <a:pt x="0" y="45244"/>
                  </a:lnTo>
                  <a:lnTo>
                    <a:pt x="38100" y="0"/>
                  </a:lnTo>
                  <a:close/>
                </a:path>
              </a:pathLst>
            </a:custGeom>
            <a:solidFill>
              <a:srgbClr val="19751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sp>
        <p:nvSpPr>
          <p:cNvPr id="28" name="等腰三角形 27"/>
          <p:cNvSpPr>
            <a:spLocks noChangeArrowheads="1"/>
          </p:cNvSpPr>
          <p:nvPr/>
        </p:nvSpPr>
        <p:spPr bwMode="auto">
          <a:xfrm rot="9233090">
            <a:off x="11153775" y="6661150"/>
            <a:ext cx="122238" cy="104775"/>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29" name="等腰三角形 28"/>
          <p:cNvSpPr>
            <a:spLocks noChangeArrowheads="1"/>
          </p:cNvSpPr>
          <p:nvPr/>
        </p:nvSpPr>
        <p:spPr bwMode="auto">
          <a:xfrm rot="-6030424">
            <a:off x="10913269" y="6634956"/>
            <a:ext cx="180975" cy="157163"/>
          </a:xfrm>
          <a:prstGeom prst="triangle">
            <a:avLst>
              <a:gd name="adj" fmla="val 50000"/>
            </a:avLst>
          </a:prstGeom>
          <a:solidFill>
            <a:srgbClr val="309030"/>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0" name="等腰三角形 29"/>
          <p:cNvSpPr>
            <a:spLocks noChangeArrowheads="1"/>
          </p:cNvSpPr>
          <p:nvPr/>
        </p:nvSpPr>
        <p:spPr bwMode="auto">
          <a:xfrm rot="-228606">
            <a:off x="11368088" y="6643688"/>
            <a:ext cx="122237" cy="104775"/>
          </a:xfrm>
          <a:prstGeom prst="triangle">
            <a:avLst>
              <a:gd name="adj" fmla="val 50000"/>
            </a:avLst>
          </a:prstGeom>
          <a:solidFill>
            <a:srgbClr val="2B7E2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1" name="等腰三角形 30"/>
          <p:cNvSpPr>
            <a:spLocks noChangeArrowheads="1"/>
          </p:cNvSpPr>
          <p:nvPr/>
        </p:nvSpPr>
        <p:spPr bwMode="auto">
          <a:xfrm rot="-3389783">
            <a:off x="11107738" y="6572250"/>
            <a:ext cx="58737" cy="49213"/>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2" name="等腰三角形 31"/>
          <p:cNvSpPr>
            <a:spLocks noChangeArrowheads="1"/>
          </p:cNvSpPr>
          <p:nvPr/>
        </p:nvSpPr>
        <p:spPr bwMode="auto">
          <a:xfrm rot="8748521">
            <a:off x="11296650" y="6657975"/>
            <a:ext cx="58738" cy="49213"/>
          </a:xfrm>
          <a:prstGeom prst="triangle">
            <a:avLst>
              <a:gd name="adj" fmla="val 50000"/>
            </a:avLst>
          </a:prstGeom>
          <a:solidFill>
            <a:srgbClr val="559551"/>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25" name="文本框 24"/>
          <p:cNvSpPr txBox="1">
            <a:spLocks noChangeArrowheads="1"/>
          </p:cNvSpPr>
          <p:nvPr/>
        </p:nvSpPr>
        <p:spPr bwMode="auto">
          <a:xfrm>
            <a:off x="11364913" y="6524625"/>
            <a:ext cx="617537"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1500">
                <a:solidFill>
                  <a:srgbClr val="197519"/>
                </a:solidFill>
                <a:ea typeface="方正粗倩简体" pitchFamily="65" charset="-122"/>
              </a:rPr>
              <a:t>12</a:t>
            </a:r>
            <a:endParaRPr lang="zh-CN" altLang="en-US" sz="1500">
              <a:solidFill>
                <a:srgbClr val="197519"/>
              </a:solidFill>
              <a:ea typeface="方正粗倩简体" pitchFamily="65" charset="-122"/>
            </a:endParaRPr>
          </a:p>
        </p:txBody>
      </p:sp>
      <p:sp>
        <p:nvSpPr>
          <p:cNvPr id="40" name="等腰三角形 39"/>
          <p:cNvSpPr>
            <a:spLocks noChangeArrowheads="1"/>
          </p:cNvSpPr>
          <p:nvPr/>
        </p:nvSpPr>
        <p:spPr bwMode="auto">
          <a:xfrm>
            <a:off x="196850" y="360363"/>
            <a:ext cx="563563" cy="485775"/>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1" name="等腰三角形 40"/>
          <p:cNvSpPr>
            <a:spLocks noChangeArrowheads="1"/>
          </p:cNvSpPr>
          <p:nvPr/>
        </p:nvSpPr>
        <p:spPr bwMode="auto">
          <a:xfrm>
            <a:off x="760413" y="696913"/>
            <a:ext cx="265112" cy="228600"/>
          </a:xfrm>
          <a:prstGeom prst="triangle">
            <a:avLst>
              <a:gd name="adj" fmla="val 50000"/>
            </a:avLst>
          </a:prstGeom>
          <a:solidFill>
            <a:srgbClr val="197519">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2" name="等腰三角形 41"/>
          <p:cNvSpPr>
            <a:spLocks noChangeArrowheads="1"/>
          </p:cNvSpPr>
          <p:nvPr/>
        </p:nvSpPr>
        <p:spPr bwMode="auto">
          <a:xfrm flipH="1">
            <a:off x="630238" y="469900"/>
            <a:ext cx="85725" cy="74613"/>
          </a:xfrm>
          <a:prstGeom prst="triangle">
            <a:avLst>
              <a:gd name="adj" fmla="val 50000"/>
            </a:avLst>
          </a:prstGeom>
          <a:solidFill>
            <a:srgbClr val="197519">
              <a:alpha val="46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3" name="等腰三角形 42"/>
          <p:cNvSpPr>
            <a:spLocks noChangeArrowheads="1"/>
          </p:cNvSpPr>
          <p:nvPr/>
        </p:nvSpPr>
        <p:spPr bwMode="auto">
          <a:xfrm>
            <a:off x="833438" y="490538"/>
            <a:ext cx="177800" cy="152400"/>
          </a:xfrm>
          <a:prstGeom prst="triangle">
            <a:avLst>
              <a:gd name="adj" fmla="val 50000"/>
            </a:avLst>
          </a:prstGeom>
          <a:solidFill>
            <a:srgbClr val="197519">
              <a:alpha val="71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 name="矩形 1"/>
          <p:cNvSpPr>
            <a:spLocks noChangeArrowheads="1"/>
          </p:cNvSpPr>
          <p:nvPr/>
        </p:nvSpPr>
        <p:spPr bwMode="auto">
          <a:xfrm>
            <a:off x="1084819" y="342476"/>
            <a:ext cx="6191250" cy="58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altLang="de-DE" sz="3200" b="1" dirty="0">
                <a:solidFill>
                  <a:srgbClr val="197519"/>
                </a:solidFill>
                <a:latin typeface="Calibri" panose="020F0502020204030204" pitchFamily="34" charset="0"/>
                <a:cs typeface="Calibri" panose="020F0502020204030204" pitchFamily="34" charset="0"/>
              </a:rPr>
              <a:t>Supplier Sustainability Color Rating </a:t>
            </a:r>
          </a:p>
        </p:txBody>
      </p:sp>
      <p:sp>
        <p:nvSpPr>
          <p:cNvPr id="5" name="Freeform 99"/>
          <p:cNvSpPr>
            <a:spLocks noChangeArrowheads="1"/>
          </p:cNvSpPr>
          <p:nvPr/>
        </p:nvSpPr>
        <p:spPr bwMode="auto">
          <a:xfrm>
            <a:off x="7494588" y="2089150"/>
            <a:ext cx="1127125" cy="931863"/>
          </a:xfrm>
          <a:custGeom>
            <a:avLst/>
            <a:gdLst>
              <a:gd name="T0" fmla="*/ 142 w 710"/>
              <a:gd name="T1" fmla="*/ 587 h 587"/>
              <a:gd name="T2" fmla="*/ 710 w 710"/>
              <a:gd name="T3" fmla="*/ 587 h 587"/>
              <a:gd name="T4" fmla="*/ 710 w 710"/>
              <a:gd name="T5" fmla="*/ 0 h 587"/>
              <a:gd name="T6" fmla="*/ 142 w 710"/>
              <a:gd name="T7" fmla="*/ 0 h 587"/>
              <a:gd name="T8" fmla="*/ 0 w 710"/>
              <a:gd name="T9" fmla="*/ 293 h 587"/>
              <a:gd name="T10" fmla="*/ 142 w 710"/>
              <a:gd name="T11" fmla="*/ 587 h 587"/>
            </a:gdLst>
            <a:ahLst/>
            <a:cxnLst>
              <a:cxn ang="0">
                <a:pos x="T0" y="T1"/>
              </a:cxn>
              <a:cxn ang="0">
                <a:pos x="T2" y="T3"/>
              </a:cxn>
              <a:cxn ang="0">
                <a:pos x="T4" y="T5"/>
              </a:cxn>
              <a:cxn ang="0">
                <a:pos x="T6" y="T7"/>
              </a:cxn>
              <a:cxn ang="0">
                <a:pos x="T8" y="T9"/>
              </a:cxn>
              <a:cxn ang="0">
                <a:pos x="T10" y="T11"/>
              </a:cxn>
            </a:cxnLst>
            <a:rect l="0" t="0" r="r" b="b"/>
            <a:pathLst>
              <a:path w="710" h="587">
                <a:moveTo>
                  <a:pt x="142" y="587"/>
                </a:moveTo>
                <a:lnTo>
                  <a:pt x="710" y="587"/>
                </a:lnTo>
                <a:lnTo>
                  <a:pt x="710" y="0"/>
                </a:lnTo>
                <a:lnTo>
                  <a:pt x="142" y="0"/>
                </a:lnTo>
                <a:lnTo>
                  <a:pt x="0" y="293"/>
                </a:lnTo>
                <a:lnTo>
                  <a:pt x="142" y="5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a:p>
        </p:txBody>
      </p:sp>
      <p:graphicFrame>
        <p:nvGraphicFramePr>
          <p:cNvPr id="4" name="Table 3"/>
          <p:cNvGraphicFramePr>
            <a:graphicFrameLocks noGrp="1"/>
          </p:cNvGraphicFramePr>
          <p:nvPr>
            <p:custDataLst>
              <p:tags r:id="rId1"/>
            </p:custDataLst>
          </p:nvPr>
        </p:nvGraphicFramePr>
        <p:xfrm>
          <a:off x="199708" y="2227707"/>
          <a:ext cx="4754880" cy="3556317"/>
        </p:xfrm>
        <a:graphic>
          <a:graphicData uri="http://schemas.openxmlformats.org/drawingml/2006/table">
            <a:tbl>
              <a:tblPr firstRow="1" bandRow="1">
                <a:tableStyleId>{2D5ABB26-0587-4C30-8999-92F81FD0307C}</a:tableStyleId>
              </a:tblPr>
              <a:tblGrid>
                <a:gridCol w="813816">
                  <a:extLst>
                    <a:ext uri="{9D8B030D-6E8A-4147-A177-3AD203B41FA5}">
                      <a16:colId xmlns:a16="http://schemas.microsoft.com/office/drawing/2014/main" val="20000"/>
                    </a:ext>
                  </a:extLst>
                </a:gridCol>
                <a:gridCol w="1481328">
                  <a:extLst>
                    <a:ext uri="{9D8B030D-6E8A-4147-A177-3AD203B41FA5}">
                      <a16:colId xmlns:a16="http://schemas.microsoft.com/office/drawing/2014/main" val="20001"/>
                    </a:ext>
                  </a:extLst>
                </a:gridCol>
                <a:gridCol w="2459736">
                  <a:extLst>
                    <a:ext uri="{9D8B030D-6E8A-4147-A177-3AD203B41FA5}">
                      <a16:colId xmlns:a16="http://schemas.microsoft.com/office/drawing/2014/main" val="20002"/>
                    </a:ext>
                  </a:extLst>
                </a:gridCol>
              </a:tblGrid>
              <a:tr h="1185439">
                <a:tc>
                  <a:txBody>
                    <a:bodyPr/>
                    <a:lstStyle/>
                    <a:p>
                      <a:pPr marL="0" algn="l" defTabSz="914400" rtl="0" eaLnBrk="1" latinLnBrk="0" hangingPunct="1"/>
                      <a:r>
                        <a:rPr lang="en-US" sz="1600" kern="1200" dirty="0">
                          <a:solidFill>
                            <a:schemeClr val="tx1"/>
                          </a:solidFill>
                          <a:latin typeface="Calibri" panose="020F0502020204030204" pitchFamily="34" charset="0"/>
                          <a:ea typeface="+mn-ea"/>
                          <a:cs typeface="Calibri" panose="020F0502020204030204" pitchFamily="34" charset="0"/>
                        </a:rPr>
                        <a:t>Overall Audit score </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a:r>
                        <a:rPr lang="en-US" sz="1600" dirty="0">
                          <a:solidFill>
                            <a:schemeClr val="tx1"/>
                          </a:solidFill>
                          <a:latin typeface="Calibri" panose="020F0502020204030204" pitchFamily="34" charset="0"/>
                          <a:cs typeface="Calibri" panose="020F0502020204030204" pitchFamily="34" charset="0"/>
                        </a:rPr>
                        <a:t>Acceptable</a:t>
                      </a:r>
                      <a:r>
                        <a:rPr lang="en-US" sz="1600" baseline="0" dirty="0">
                          <a:solidFill>
                            <a:schemeClr val="tx1"/>
                          </a:solidFill>
                          <a:latin typeface="Calibri" panose="020F0502020204030204" pitchFamily="34" charset="0"/>
                          <a:cs typeface="Calibri" panose="020F0502020204030204" pitchFamily="34" charset="0"/>
                        </a:rPr>
                        <a:t> </a:t>
                      </a:r>
                      <a:endParaRPr lang="en-US" sz="1600" dirty="0">
                        <a:solidFill>
                          <a:schemeClr val="tx1"/>
                        </a:solidFill>
                        <a:latin typeface="Calibri" panose="020F0502020204030204" pitchFamily="34" charset="0"/>
                        <a:cs typeface="Calibri" panose="020F0502020204030204" pitchFamily="34" charset="0"/>
                      </a:endParaRPr>
                    </a:p>
                  </a:txBody>
                  <a:tcP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l"/>
                      <a:r>
                        <a:rPr lang="en-US" sz="1600" dirty="0">
                          <a:latin typeface="Calibri" panose="020F0502020204030204" pitchFamily="34" charset="0"/>
                          <a:cs typeface="Calibri" panose="020F0502020204030204" pitchFamily="34" charset="0"/>
                        </a:rPr>
                        <a:t>Audit</a:t>
                      </a:r>
                      <a:r>
                        <a:rPr lang="en-US" sz="1600" baseline="0" dirty="0">
                          <a:latin typeface="Calibri" panose="020F0502020204030204" pitchFamily="34" charset="0"/>
                          <a:cs typeface="Calibri" panose="020F0502020204030204" pitchFamily="34" charset="0"/>
                        </a:rPr>
                        <a:t> Score &gt;=90 </a:t>
                      </a:r>
                      <a:endParaRPr lang="en-US" sz="1600" dirty="0">
                        <a:latin typeface="Calibri" panose="020F0502020204030204" pitchFamily="34" charset="0"/>
                        <a:cs typeface="Calibri" panose="020F0502020204030204" pitchFamily="34"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0"/>
                  </a:ext>
                </a:extLst>
              </a:tr>
              <a:tr h="1185439">
                <a:tc rowSpan="2">
                  <a:txBody>
                    <a:bodyPr/>
                    <a:lstStyle/>
                    <a:p>
                      <a:pPr marL="0" algn="l" defTabSz="914400" rtl="0" eaLnBrk="1" latinLnBrk="0" hangingPunct="1"/>
                      <a:endParaRPr lang="en-US" sz="1600" kern="1200" dirty="0">
                        <a:solidFill>
                          <a:schemeClr val="tx1"/>
                        </a:solidFill>
                        <a:latin typeface="Calibri" panose="020F0502020204030204" pitchFamily="34" charset="0"/>
                        <a:ea typeface="+mn-ea"/>
                        <a:cs typeface="Calibri" panose="020F0502020204030204" pitchFamily="34" charset="0"/>
                      </a:endParaRPr>
                    </a:p>
                    <a:p>
                      <a:pPr marL="0" algn="l" defTabSz="914400" rtl="0" eaLnBrk="1" latinLnBrk="0" hangingPunct="1"/>
                      <a:endParaRPr lang="en-US" sz="1600" kern="1200" dirty="0">
                        <a:solidFill>
                          <a:schemeClr val="tx1"/>
                        </a:solidFill>
                        <a:latin typeface="Calibri" panose="020F0502020204030204" pitchFamily="34" charset="0"/>
                        <a:ea typeface="+mn-ea"/>
                        <a:cs typeface="Calibri" panose="020F0502020204030204" pitchFamily="34" charset="0"/>
                      </a:endParaRPr>
                    </a:p>
                    <a:p>
                      <a:pPr marL="0" algn="l" defTabSz="914400" rtl="0" eaLnBrk="1" latinLnBrk="0" hangingPunct="1"/>
                      <a:endParaRPr lang="en-US" sz="1600" kern="1200" dirty="0">
                        <a:solidFill>
                          <a:schemeClr val="tx1"/>
                        </a:solidFill>
                        <a:latin typeface="Calibri" panose="020F0502020204030204" pitchFamily="34" charset="0"/>
                        <a:ea typeface="+mn-ea"/>
                        <a:cs typeface="Calibri" panose="020F0502020204030204" pitchFamily="34" charset="0"/>
                      </a:endParaRPr>
                    </a:p>
                    <a:p>
                      <a:pPr marL="0" algn="l" defTabSz="914400" rtl="0" eaLnBrk="1" latinLnBrk="0" hangingPunct="1"/>
                      <a:r>
                        <a:rPr lang="en-US" sz="1600" kern="1200" dirty="0">
                          <a:solidFill>
                            <a:schemeClr val="tx1"/>
                          </a:solidFill>
                          <a:latin typeface="Calibri" panose="020F0502020204030204" pitchFamily="34" charset="0"/>
                          <a:ea typeface="+mn-ea"/>
                          <a:cs typeface="Calibri" panose="020F0502020204030204" pitchFamily="34" charset="0"/>
                        </a:rPr>
                        <a:t>100 </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l"/>
                      <a:r>
                        <a:rPr lang="en-US" sz="1600" dirty="0">
                          <a:solidFill>
                            <a:schemeClr val="tx1"/>
                          </a:solidFill>
                          <a:latin typeface="Calibri" panose="020F0502020204030204" pitchFamily="34" charset="0"/>
                          <a:cs typeface="Calibri" panose="020F0502020204030204" pitchFamily="34" charset="0"/>
                        </a:rPr>
                        <a:t>Improvement</a:t>
                      </a:r>
                      <a:r>
                        <a:rPr lang="en-US" sz="1600" baseline="0" dirty="0">
                          <a:solidFill>
                            <a:schemeClr val="tx1"/>
                          </a:solidFill>
                          <a:latin typeface="Calibri" panose="020F0502020204030204" pitchFamily="34" charset="0"/>
                          <a:cs typeface="Calibri" panose="020F0502020204030204" pitchFamily="34" charset="0"/>
                        </a:rPr>
                        <a:t> required </a:t>
                      </a:r>
                      <a:endParaRPr lang="en-US" sz="1600" dirty="0">
                        <a:solidFill>
                          <a:schemeClr val="tx1"/>
                        </a:solidFill>
                        <a:latin typeface="Calibri" panose="020F0502020204030204" pitchFamily="34" charset="0"/>
                        <a:cs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00"/>
                    </a:solidFill>
                  </a:tcPr>
                </a:tc>
                <a:tc>
                  <a:txBody>
                    <a:bodyPr/>
                    <a:lstStyle/>
                    <a:p>
                      <a:pPr algn="l"/>
                      <a:r>
                        <a:rPr lang="en-US" sz="1600" dirty="0">
                          <a:latin typeface="Calibri" panose="020F0502020204030204" pitchFamily="34" charset="0"/>
                          <a:cs typeface="Calibri" panose="020F0502020204030204" pitchFamily="34" charset="0"/>
                        </a:rPr>
                        <a:t>Audit</a:t>
                      </a:r>
                      <a:r>
                        <a:rPr lang="en-US" sz="1600" baseline="0" dirty="0">
                          <a:latin typeface="Calibri" panose="020F0502020204030204" pitchFamily="34" charset="0"/>
                          <a:cs typeface="Calibri" panose="020F0502020204030204" pitchFamily="34" charset="0"/>
                        </a:rPr>
                        <a:t> Score &gt;=80 and &lt;=90 </a:t>
                      </a:r>
                      <a:endParaRPr lang="en-US" sz="1600" dirty="0">
                        <a:latin typeface="Calibri" panose="020F0502020204030204" pitchFamily="34" charset="0"/>
                        <a:cs typeface="Calibri" panose="020F0502020204030204" pitchFamily="34" charset="0"/>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1185439">
                <a:tc vMerge="1">
                  <a:txBody>
                    <a:bodyPr/>
                    <a:lstStyle/>
                    <a:p>
                      <a:endParaRPr lang="zh-CN"/>
                    </a:p>
                  </a:txBody>
                  <a:tcPr/>
                </a:tc>
                <a:tc>
                  <a:txBody>
                    <a:bodyPr/>
                    <a:lstStyle/>
                    <a:p>
                      <a:pPr algn="l"/>
                      <a:r>
                        <a:rPr lang="en-US" sz="1600" dirty="0">
                          <a:solidFill>
                            <a:schemeClr val="tx1"/>
                          </a:solidFill>
                          <a:latin typeface="Calibri" panose="020F0502020204030204" pitchFamily="34" charset="0"/>
                          <a:cs typeface="Calibri" panose="020F0502020204030204" pitchFamily="34" charset="0"/>
                        </a:rPr>
                        <a:t>Not acceptable</a:t>
                      </a:r>
                      <a:r>
                        <a:rPr lang="en-US" sz="1600" baseline="0" dirty="0">
                          <a:solidFill>
                            <a:schemeClr val="tx1"/>
                          </a:solidFill>
                          <a:latin typeface="Calibri" panose="020F0502020204030204" pitchFamily="34" charset="0"/>
                          <a:cs typeface="Calibri" panose="020F0502020204030204" pitchFamily="34" charset="0"/>
                        </a:rPr>
                        <a:t> </a:t>
                      </a:r>
                      <a:endParaRPr lang="en-US" sz="1600" dirty="0">
                        <a:solidFill>
                          <a:schemeClr val="tx1"/>
                        </a:solidFill>
                        <a:latin typeface="Calibri" panose="020F0502020204030204" pitchFamily="34" charset="0"/>
                        <a:cs typeface="Calibri" panose="020F0502020204030204" pitchFamily="34" charset="0"/>
                      </a:endParaRPr>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l"/>
                      <a:r>
                        <a:rPr lang="en-US" sz="1600" dirty="0">
                          <a:latin typeface="Calibri" panose="020F0502020204030204" pitchFamily="34" charset="0"/>
                          <a:cs typeface="Calibri" panose="020F0502020204030204" pitchFamily="34" charset="0"/>
                        </a:rPr>
                        <a:t>Audit</a:t>
                      </a:r>
                      <a:r>
                        <a:rPr lang="en-US" sz="1600" baseline="0" dirty="0">
                          <a:latin typeface="Calibri" panose="020F0502020204030204" pitchFamily="34" charset="0"/>
                          <a:cs typeface="Calibri" panose="020F0502020204030204" pitchFamily="34" charset="0"/>
                        </a:rPr>
                        <a:t> score&lt;=80 </a:t>
                      </a:r>
                      <a:endParaRPr lang="en-US" sz="1600" dirty="0">
                        <a:latin typeface="Calibri" panose="020F0502020204030204" pitchFamily="34" charset="0"/>
                        <a:cs typeface="Calibri" panose="020F0502020204030204" pitchFamily="34" charset="0"/>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graphicFrame>
        <p:nvGraphicFramePr>
          <p:cNvPr id="34" name="Table 33"/>
          <p:cNvGraphicFramePr>
            <a:graphicFrameLocks noGrp="1"/>
          </p:cNvGraphicFramePr>
          <p:nvPr/>
        </p:nvGraphicFramePr>
        <p:xfrm>
          <a:off x="7346834" y="2227707"/>
          <a:ext cx="3941064" cy="3556320"/>
        </p:xfrm>
        <a:graphic>
          <a:graphicData uri="http://schemas.openxmlformats.org/drawingml/2006/table">
            <a:tbl>
              <a:tblPr firstRow="1" bandRow="1">
                <a:tableStyleId>{2D5ABB26-0587-4C30-8999-92F81FD0307C}</a:tableStyleId>
              </a:tblPr>
              <a:tblGrid>
                <a:gridCol w="1481328">
                  <a:extLst>
                    <a:ext uri="{9D8B030D-6E8A-4147-A177-3AD203B41FA5}">
                      <a16:colId xmlns:a16="http://schemas.microsoft.com/office/drawing/2014/main" val="20000"/>
                    </a:ext>
                  </a:extLst>
                </a:gridCol>
                <a:gridCol w="2459736">
                  <a:extLst>
                    <a:ext uri="{9D8B030D-6E8A-4147-A177-3AD203B41FA5}">
                      <a16:colId xmlns:a16="http://schemas.microsoft.com/office/drawing/2014/main" val="20001"/>
                    </a:ext>
                  </a:extLst>
                </a:gridCol>
              </a:tblGrid>
              <a:tr h="889080">
                <a:tc>
                  <a:txBody>
                    <a:bodyPr/>
                    <a:lstStyle/>
                    <a:p>
                      <a:pPr algn="l"/>
                      <a:r>
                        <a:rPr lang="en-US" sz="1600" dirty="0">
                          <a:solidFill>
                            <a:schemeClr val="tx1"/>
                          </a:solidFill>
                          <a:latin typeface="Calibri" panose="020F0502020204030204" pitchFamily="34" charset="0"/>
                          <a:cs typeface="Calibri" panose="020F0502020204030204" pitchFamily="34" charset="0"/>
                        </a:rPr>
                        <a:t>NC</a:t>
                      </a:r>
                      <a:r>
                        <a:rPr lang="en-US" sz="1600" baseline="0" dirty="0">
                          <a:solidFill>
                            <a:schemeClr val="tx1"/>
                          </a:solidFill>
                          <a:latin typeface="Calibri" panose="020F0502020204030204" pitchFamily="34" charset="0"/>
                          <a:cs typeface="Calibri" panose="020F0502020204030204" pitchFamily="34" charset="0"/>
                        </a:rPr>
                        <a:t> Rating </a:t>
                      </a:r>
                      <a:endParaRPr lang="en-US" sz="1600" dirty="0">
                        <a:solidFill>
                          <a:schemeClr val="tx1"/>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600" dirty="0">
                          <a:latin typeface="Calibri" panose="020F0502020204030204" pitchFamily="34" charset="0"/>
                          <a:cs typeface="Calibri" panose="020F0502020204030204" pitchFamily="34" charset="0"/>
                        </a:rPr>
                        <a:t>Item</a:t>
                      </a:r>
                      <a:r>
                        <a:rPr lang="en-US" sz="1600" baseline="0" dirty="0">
                          <a:latin typeface="Calibri" panose="020F0502020204030204" pitchFamily="34" charset="0"/>
                          <a:cs typeface="Calibri" panose="020F0502020204030204" pitchFamily="34" charset="0"/>
                        </a:rPr>
                        <a:t> Scoring </a:t>
                      </a:r>
                      <a:endParaRPr lang="en-US" sz="1600" dirty="0">
                        <a:latin typeface="Calibri" panose="020F0502020204030204" pitchFamily="34" charset="0"/>
                        <a:cs typeface="Calibri" panose="020F0502020204030204" pitchFamily="34" charset="0"/>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889080">
                <a:tc>
                  <a:txBody>
                    <a:bodyPr/>
                    <a:lstStyle/>
                    <a:p>
                      <a:pPr algn="l"/>
                      <a:r>
                        <a:rPr lang="en-US" sz="1600" b="1" dirty="0">
                          <a:solidFill>
                            <a:schemeClr val="tx1"/>
                          </a:solidFill>
                          <a:latin typeface="Calibri" panose="020F0502020204030204" pitchFamily="34" charset="0"/>
                          <a:cs typeface="Calibri" panose="020F0502020204030204" pitchFamily="34" charset="0"/>
                        </a:rPr>
                        <a:t>Zero</a:t>
                      </a:r>
                      <a:r>
                        <a:rPr lang="en-US" sz="1600" b="1" baseline="0" dirty="0">
                          <a:solidFill>
                            <a:schemeClr val="tx1"/>
                          </a:solidFill>
                          <a:latin typeface="Calibri" panose="020F0502020204030204" pitchFamily="34" charset="0"/>
                          <a:cs typeface="Calibri" panose="020F0502020204030204" pitchFamily="34" charset="0"/>
                        </a:rPr>
                        <a:t> tolerance </a:t>
                      </a:r>
                      <a:endParaRPr lang="en-US" sz="1600" b="1" dirty="0">
                        <a:solidFill>
                          <a:schemeClr val="tx1"/>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20</a:t>
                      </a:r>
                      <a:r>
                        <a:rPr lang="en-US" sz="1600" baseline="0" dirty="0">
                          <a:latin typeface="Calibri" panose="020F0502020204030204" pitchFamily="34" charset="0"/>
                          <a:cs typeface="Calibri" panose="020F0502020204030204" pitchFamily="34" charset="0"/>
                        </a:rPr>
                        <a:t> points per NC will be deducted </a:t>
                      </a:r>
                      <a:endParaRPr lang="en-US" sz="1600" dirty="0">
                        <a:latin typeface="Calibri" panose="020F0502020204030204" pitchFamily="34" charset="0"/>
                        <a:cs typeface="Calibri" panose="020F0502020204030204" pitchFamily="34" charset="0"/>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889080">
                <a:tc>
                  <a:txBody>
                    <a:bodyPr/>
                    <a:lstStyle/>
                    <a:p>
                      <a:pPr algn="l"/>
                      <a:r>
                        <a:rPr lang="en-US" sz="1600" b="1" dirty="0">
                          <a:solidFill>
                            <a:srgbClr val="FF0000"/>
                          </a:solidFill>
                          <a:latin typeface="Calibri" panose="020F0502020204030204" pitchFamily="34" charset="0"/>
                          <a:cs typeface="Calibri" panose="020F0502020204030204" pitchFamily="34" charset="0"/>
                        </a:rPr>
                        <a:t>Critical</a:t>
                      </a:r>
                      <a:r>
                        <a:rPr lang="en-US" sz="1600" b="1" baseline="0" dirty="0">
                          <a:solidFill>
                            <a:srgbClr val="FF0000"/>
                          </a:solidFill>
                          <a:latin typeface="Calibri" panose="020F0502020204030204" pitchFamily="34" charset="0"/>
                          <a:cs typeface="Calibri" panose="020F0502020204030204" pitchFamily="34" charset="0"/>
                        </a:rPr>
                        <a:t> Items </a:t>
                      </a:r>
                      <a:endParaRPr lang="en-US" sz="1600" b="1" dirty="0">
                        <a:solidFill>
                          <a:srgbClr val="FF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7</a:t>
                      </a:r>
                      <a:r>
                        <a:rPr lang="en-US" sz="1600" baseline="0" dirty="0">
                          <a:latin typeface="Calibri" panose="020F0502020204030204" pitchFamily="34" charset="0"/>
                          <a:cs typeface="Calibri" panose="020F0502020204030204" pitchFamily="34" charset="0"/>
                        </a:rPr>
                        <a:t> points per NC will be deducted </a:t>
                      </a:r>
                      <a:endParaRPr lang="en-US" sz="1600" dirty="0">
                        <a:latin typeface="Calibri" panose="020F0502020204030204" pitchFamily="34" charset="0"/>
                        <a:cs typeface="Calibri" panose="020F0502020204030204" pitchFamily="34" charset="0"/>
                      </a:endParaRPr>
                    </a:p>
                  </a:txBody>
                  <a:tcPr>
                    <a:lnL>
                      <a:noFill/>
                    </a:lnL>
                    <a:lnR w="1270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889080">
                <a:tc>
                  <a:txBody>
                    <a:bodyPr/>
                    <a:lstStyle/>
                    <a:p>
                      <a:pPr algn="l"/>
                      <a:r>
                        <a:rPr lang="en-US" sz="1600" b="1" dirty="0">
                          <a:solidFill>
                            <a:srgbClr val="FFFF00"/>
                          </a:solidFill>
                          <a:latin typeface="Calibri" panose="020F0502020204030204" pitchFamily="34" charset="0"/>
                          <a:cs typeface="Calibri" panose="020F0502020204030204" pitchFamily="34" charset="0"/>
                        </a:rPr>
                        <a:t>Major</a:t>
                      </a:r>
                      <a:r>
                        <a:rPr lang="en-US" sz="1600" b="1" baseline="0" dirty="0">
                          <a:solidFill>
                            <a:srgbClr val="FFFF00"/>
                          </a:solidFill>
                          <a:latin typeface="Calibri" panose="020F0502020204030204" pitchFamily="34" charset="0"/>
                          <a:cs typeface="Calibri" panose="020F0502020204030204" pitchFamily="34" charset="0"/>
                        </a:rPr>
                        <a:t> Items </a:t>
                      </a:r>
                      <a:endParaRPr lang="en-US" sz="1600" b="1" dirty="0">
                        <a:solidFill>
                          <a:srgbClr val="FFFF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l"/>
                      <a:r>
                        <a:rPr lang="en-US" sz="1600" dirty="0">
                          <a:latin typeface="Calibri" panose="020F0502020204030204" pitchFamily="34" charset="0"/>
                          <a:cs typeface="Calibri" panose="020F0502020204030204" pitchFamily="34" charset="0"/>
                        </a:rPr>
                        <a:t>4</a:t>
                      </a:r>
                      <a:r>
                        <a:rPr lang="en-US" sz="1600" baseline="0" dirty="0">
                          <a:latin typeface="Calibri" panose="020F0502020204030204" pitchFamily="34" charset="0"/>
                          <a:cs typeface="Calibri" panose="020F0502020204030204" pitchFamily="34" charset="0"/>
                        </a:rPr>
                        <a:t> Points per NC will be deducted </a:t>
                      </a:r>
                      <a:endParaRPr lang="en-US" sz="1600" dirty="0">
                        <a:latin typeface="Calibri" panose="020F0502020204030204" pitchFamily="34" charset="0"/>
                        <a:cs typeface="Calibri" panose="020F0502020204030204" pitchFamily="34" charset="0"/>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9" name="等腰三角形 38"/>
          <p:cNvSpPr>
            <a:spLocks noChangeArrowheads="1"/>
          </p:cNvSpPr>
          <p:nvPr/>
        </p:nvSpPr>
        <p:spPr bwMode="auto">
          <a:xfrm rot="9233090">
            <a:off x="11147425" y="6661150"/>
            <a:ext cx="120650" cy="104775"/>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40" name="等腰三角形 39"/>
          <p:cNvSpPr>
            <a:spLocks noChangeArrowheads="1"/>
          </p:cNvSpPr>
          <p:nvPr/>
        </p:nvSpPr>
        <p:spPr bwMode="auto">
          <a:xfrm rot="-6030424">
            <a:off x="10905331" y="6634957"/>
            <a:ext cx="180975" cy="157162"/>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41" name="等腰三角形 40"/>
          <p:cNvSpPr>
            <a:spLocks noChangeArrowheads="1"/>
          </p:cNvSpPr>
          <p:nvPr/>
        </p:nvSpPr>
        <p:spPr bwMode="auto">
          <a:xfrm rot="-228606">
            <a:off x="11360150" y="6643688"/>
            <a:ext cx="122238" cy="104775"/>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42" name="等腰三角形 41"/>
          <p:cNvSpPr>
            <a:spLocks noChangeArrowheads="1"/>
          </p:cNvSpPr>
          <p:nvPr/>
        </p:nvSpPr>
        <p:spPr bwMode="auto">
          <a:xfrm rot="-3389783">
            <a:off x="11100594" y="6571457"/>
            <a:ext cx="58737" cy="50800"/>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43" name="等腰三角形 42"/>
          <p:cNvSpPr>
            <a:spLocks noChangeArrowheads="1"/>
          </p:cNvSpPr>
          <p:nvPr/>
        </p:nvSpPr>
        <p:spPr bwMode="auto">
          <a:xfrm rot="8748521">
            <a:off x="11290300" y="6657975"/>
            <a:ext cx="58738" cy="49213"/>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4" name="弧形 3"/>
          <p:cNvSpPr/>
          <p:nvPr/>
        </p:nvSpPr>
        <p:spPr>
          <a:xfrm>
            <a:off x="749300" y="1665288"/>
            <a:ext cx="4248150" cy="4602162"/>
          </a:xfrm>
          <a:prstGeom prst="arc">
            <a:avLst>
              <a:gd name="adj1" fmla="val 17337751"/>
              <a:gd name="adj2" fmla="val 4126310"/>
            </a:avLst>
          </a:prstGeom>
          <a:ln w="66675">
            <a:solidFill>
              <a:srgbClr val="197519"/>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endParaRPr lang="zh-CN" altLang="en-US" noProof="1"/>
          </a:p>
        </p:txBody>
      </p:sp>
      <p:sp>
        <p:nvSpPr>
          <p:cNvPr id="50" name="Arc 3_1"/>
          <p:cNvSpPr/>
          <p:nvPr/>
        </p:nvSpPr>
        <p:spPr>
          <a:xfrm flipH="1">
            <a:off x="95250" y="1665288"/>
            <a:ext cx="4248150" cy="4602162"/>
          </a:xfrm>
          <a:prstGeom prst="arc">
            <a:avLst>
              <a:gd name="adj1" fmla="val 17337751"/>
              <a:gd name="adj2" fmla="val 4126310"/>
            </a:avLst>
          </a:prstGeom>
          <a:ln w="66675">
            <a:solidFill>
              <a:srgbClr val="197519"/>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endParaRPr lang="zh-CN" altLang="en-US" noProof="1"/>
          </a:p>
        </p:txBody>
      </p:sp>
      <p:sp>
        <p:nvSpPr>
          <p:cNvPr id="6" name="矩形 5"/>
          <p:cNvSpPr>
            <a:spLocks noChangeArrowheads="1"/>
          </p:cNvSpPr>
          <p:nvPr/>
        </p:nvSpPr>
        <p:spPr bwMode="auto">
          <a:xfrm>
            <a:off x="4949190" y="1304925"/>
            <a:ext cx="7200900" cy="553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latinLnBrk="1">
              <a:lnSpc>
                <a:spcPct val="125000"/>
              </a:lnSpc>
            </a:pPr>
            <a:r>
              <a:rPr lang="en-US" altLang="zh-CN" sz="2400" b="1" dirty="0">
                <a:latin typeface="Calibri" panose="020F0502020204030204" pitchFamily="34" charset="0"/>
                <a:cs typeface="Calibri" panose="020F0502020204030204" pitchFamily="34" charset="0"/>
              </a:rPr>
              <a:t>Description of the current situation; color rating result </a:t>
            </a:r>
          </a:p>
        </p:txBody>
      </p:sp>
      <p:sp>
        <p:nvSpPr>
          <p:cNvPr id="31" name="矩形 30"/>
          <p:cNvSpPr>
            <a:spLocks noChangeArrowheads="1"/>
          </p:cNvSpPr>
          <p:nvPr/>
        </p:nvSpPr>
        <p:spPr bwMode="auto">
          <a:xfrm>
            <a:off x="5981065" y="2351405"/>
            <a:ext cx="5894070" cy="829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1" latinLnBrk="1" hangingPunct="1">
              <a:lnSpc>
                <a:spcPct val="100000"/>
              </a:lnSpc>
            </a:pPr>
            <a:r>
              <a:rPr lang="en-US" sz="2400" b="1" dirty="0">
                <a:latin typeface="Calibri" panose="020F0502020204030204" pitchFamily="34" charset="0"/>
                <a:cs typeface="Calibri" panose="020F0502020204030204" pitchFamily="34" charset="0"/>
              </a:rPr>
              <a:t>Evidence and information to substantiate the findings</a:t>
            </a:r>
          </a:p>
        </p:txBody>
      </p:sp>
      <p:sp>
        <p:nvSpPr>
          <p:cNvPr id="2" name="椭圆 1"/>
          <p:cNvSpPr>
            <a:spLocks noChangeArrowheads="1"/>
          </p:cNvSpPr>
          <p:nvPr/>
        </p:nvSpPr>
        <p:spPr bwMode="auto">
          <a:xfrm>
            <a:off x="385763" y="1803400"/>
            <a:ext cx="4297362" cy="4298950"/>
          </a:xfrm>
          <a:prstGeom prst="ellipse">
            <a:avLst/>
          </a:prstGeom>
          <a:solidFill>
            <a:srgbClr val="197519"/>
          </a:solidFill>
          <a:ln>
            <a:noFill/>
          </a:ln>
          <a:extLst>
            <a:ext uri="{91240B29-F687-4F45-9708-019B960494DF}">
              <a14:hiddenLine xmlns:a14="http://schemas.microsoft.com/office/drawing/2010/main" w="9525">
                <a:solidFill>
                  <a:srgbClr val="000000"/>
                </a:solidFill>
                <a:round/>
              </a14:hiddenLine>
            </a:ext>
          </a:extLst>
        </p:spPr>
        <p:txBody>
          <a:bodyPr/>
          <a:lstStyle/>
          <a:p>
            <a:pPr algn="ctr"/>
            <a:endParaRPr lang="en-US" altLang="zh-CN" sz="3600" dirty="0">
              <a:latin typeface="Calibri" panose="020F0502020204030204" pitchFamily="34" charset="0"/>
              <a:cs typeface="Calibri" panose="020F0502020204030204" pitchFamily="34" charset="0"/>
            </a:endParaRPr>
          </a:p>
          <a:p>
            <a:pPr algn="ctr"/>
            <a:endParaRPr lang="en-US" altLang="zh-CN" sz="3600" dirty="0">
              <a:latin typeface="Calibri" panose="020F0502020204030204" pitchFamily="34" charset="0"/>
              <a:cs typeface="Calibri" panose="020F0502020204030204" pitchFamily="34" charset="0"/>
            </a:endParaRPr>
          </a:p>
          <a:p>
            <a:pPr algn="ctr"/>
            <a:r>
              <a:rPr lang="en-US" altLang="zh-CN" sz="3600" dirty="0">
                <a:solidFill>
                  <a:schemeClr val="bg1"/>
                </a:solidFill>
                <a:latin typeface="Calibri" panose="020F0502020204030204" pitchFamily="34" charset="0"/>
                <a:cs typeface="Calibri" panose="020F0502020204030204" pitchFamily="34" charset="0"/>
              </a:rPr>
              <a:t>Audit Report </a:t>
            </a:r>
            <a:endParaRPr lang="zh-CN" altLang="en-US" sz="3600" dirty="0">
              <a:solidFill>
                <a:schemeClr val="bg1"/>
              </a:solidFill>
              <a:latin typeface="Calibri" panose="020F0502020204030204" pitchFamily="34" charset="0"/>
              <a:cs typeface="Calibri" panose="020F0502020204030204" pitchFamily="34" charset="0"/>
            </a:endParaRPr>
          </a:p>
        </p:txBody>
      </p:sp>
      <p:grpSp>
        <p:nvGrpSpPr>
          <p:cNvPr id="14" name="组合 13"/>
          <p:cNvGrpSpPr/>
          <p:nvPr/>
        </p:nvGrpSpPr>
        <p:grpSpPr bwMode="auto">
          <a:xfrm>
            <a:off x="3186569" y="1219243"/>
            <a:ext cx="1733550" cy="1263650"/>
            <a:chOff x="3856882" y="1805041"/>
            <a:chExt cx="1734682" cy="1262903"/>
          </a:xfrm>
        </p:grpSpPr>
        <p:grpSp>
          <p:nvGrpSpPr>
            <p:cNvPr id="10259" name="组合 8"/>
            <p:cNvGrpSpPr/>
            <p:nvPr/>
          </p:nvGrpSpPr>
          <p:grpSpPr bwMode="auto">
            <a:xfrm>
              <a:off x="4635110" y="1805041"/>
              <a:ext cx="956454" cy="907419"/>
              <a:chOff x="4635110" y="1805041"/>
              <a:chExt cx="956454" cy="907419"/>
            </a:xfrm>
          </p:grpSpPr>
          <p:sp>
            <p:nvSpPr>
              <p:cNvPr id="10260" name="等腰三角形 4"/>
              <p:cNvSpPr>
                <a:spLocks noChangeArrowheads="1"/>
              </p:cNvSpPr>
              <p:nvPr/>
            </p:nvSpPr>
            <p:spPr bwMode="auto">
              <a:xfrm>
                <a:off x="4635110" y="1805041"/>
                <a:ext cx="956454" cy="824528"/>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0261" name="文本框 27"/>
              <p:cNvSpPr txBox="1">
                <a:spLocks noChangeArrowheads="1"/>
              </p:cNvSpPr>
              <p:nvPr/>
            </p:nvSpPr>
            <p:spPr bwMode="auto">
              <a:xfrm>
                <a:off x="4676256" y="2066129"/>
                <a:ext cx="91530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3600" dirty="0">
                    <a:solidFill>
                      <a:schemeClr val="bg1"/>
                    </a:solidFill>
                  </a:rPr>
                  <a:t>01</a:t>
                </a:r>
                <a:endParaRPr lang="zh-CN" altLang="en-US" sz="3600" dirty="0">
                  <a:solidFill>
                    <a:schemeClr val="bg1"/>
                  </a:solidFill>
                  <a:ea typeface="方正粗倩简体" pitchFamily="65" charset="-122"/>
                </a:endParaRPr>
              </a:p>
            </p:txBody>
          </p:sp>
        </p:grpSp>
        <p:sp>
          <p:nvSpPr>
            <p:cNvPr id="13" name="矩形 12"/>
            <p:cNvSpPr/>
            <p:nvPr/>
          </p:nvSpPr>
          <p:spPr>
            <a:xfrm rot="19804025">
              <a:off x="3856882" y="2198508"/>
              <a:ext cx="1580594" cy="86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grpSp>
        <p:nvGrpSpPr>
          <p:cNvPr id="15" name="组合 14"/>
          <p:cNvGrpSpPr/>
          <p:nvPr/>
        </p:nvGrpSpPr>
        <p:grpSpPr bwMode="auto">
          <a:xfrm>
            <a:off x="4044761" y="2187815"/>
            <a:ext cx="1855788" cy="962025"/>
            <a:chOff x="4279404" y="3368896"/>
            <a:chExt cx="1855551" cy="962445"/>
          </a:xfrm>
        </p:grpSpPr>
        <p:grpSp>
          <p:nvGrpSpPr>
            <p:cNvPr id="10264" name="组合 9"/>
            <p:cNvGrpSpPr/>
            <p:nvPr/>
          </p:nvGrpSpPr>
          <p:grpSpPr bwMode="auto">
            <a:xfrm>
              <a:off x="5103518" y="3368896"/>
              <a:ext cx="1031437" cy="856513"/>
              <a:chOff x="5103518" y="3368896"/>
              <a:chExt cx="1031437" cy="856513"/>
            </a:xfrm>
          </p:grpSpPr>
          <p:sp>
            <p:nvSpPr>
              <p:cNvPr id="10265" name="等腰三角形 21"/>
              <p:cNvSpPr>
                <a:spLocks noChangeArrowheads="1"/>
              </p:cNvSpPr>
              <p:nvPr/>
            </p:nvSpPr>
            <p:spPr bwMode="auto">
              <a:xfrm rot="1800000">
                <a:off x="5178501" y="3368896"/>
                <a:ext cx="956454" cy="824528"/>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0266" name="文本框 29"/>
              <p:cNvSpPr txBox="1">
                <a:spLocks noChangeArrowheads="1"/>
              </p:cNvSpPr>
              <p:nvPr/>
            </p:nvSpPr>
            <p:spPr bwMode="auto">
              <a:xfrm>
                <a:off x="5103518" y="3579078"/>
                <a:ext cx="91530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3600" dirty="0">
                    <a:solidFill>
                      <a:schemeClr val="bg1"/>
                    </a:solidFill>
                  </a:rPr>
                  <a:t>02</a:t>
                </a:r>
                <a:endParaRPr lang="zh-CN" altLang="en-US" sz="3600" dirty="0">
                  <a:solidFill>
                    <a:schemeClr val="bg1"/>
                  </a:solidFill>
                  <a:ea typeface="方正粗倩简体" pitchFamily="65" charset="-122"/>
                </a:endParaRPr>
              </a:p>
            </p:txBody>
          </p:sp>
        </p:grpSp>
        <p:sp>
          <p:nvSpPr>
            <p:cNvPr id="51" name="矩形 50"/>
            <p:cNvSpPr/>
            <p:nvPr/>
          </p:nvSpPr>
          <p:spPr>
            <a:xfrm>
              <a:off x="4279404" y="3462600"/>
              <a:ext cx="1580948" cy="8687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grpSp>
        <p:nvGrpSpPr>
          <p:cNvPr id="16" name="组合 15"/>
          <p:cNvGrpSpPr/>
          <p:nvPr/>
        </p:nvGrpSpPr>
        <p:grpSpPr bwMode="auto">
          <a:xfrm>
            <a:off x="4279424" y="3506768"/>
            <a:ext cx="1763712" cy="1112838"/>
            <a:chOff x="3976330" y="4762614"/>
            <a:chExt cx="1764377" cy="1113179"/>
          </a:xfrm>
        </p:grpSpPr>
        <p:grpSp>
          <p:nvGrpSpPr>
            <p:cNvPr id="10269" name="组合 11"/>
            <p:cNvGrpSpPr/>
            <p:nvPr/>
          </p:nvGrpSpPr>
          <p:grpSpPr bwMode="auto">
            <a:xfrm>
              <a:off x="4735934" y="4919339"/>
              <a:ext cx="1004773" cy="956454"/>
              <a:chOff x="4735934" y="4919339"/>
              <a:chExt cx="1004773" cy="956454"/>
            </a:xfrm>
          </p:grpSpPr>
          <p:sp>
            <p:nvSpPr>
              <p:cNvPr id="10270" name="等腰三角形 22"/>
              <p:cNvSpPr>
                <a:spLocks noChangeArrowheads="1"/>
              </p:cNvSpPr>
              <p:nvPr/>
            </p:nvSpPr>
            <p:spPr bwMode="auto">
              <a:xfrm rot="3600000">
                <a:off x="4850216" y="4985302"/>
                <a:ext cx="956454" cy="824528"/>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0271" name="文本框 28"/>
              <p:cNvSpPr txBox="1">
                <a:spLocks noChangeArrowheads="1"/>
              </p:cNvSpPr>
              <p:nvPr/>
            </p:nvSpPr>
            <p:spPr bwMode="auto">
              <a:xfrm>
                <a:off x="4735934" y="5120141"/>
                <a:ext cx="91530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3600" dirty="0">
                    <a:solidFill>
                      <a:schemeClr val="bg1"/>
                    </a:solidFill>
                  </a:rPr>
                  <a:t>03</a:t>
                </a:r>
                <a:endParaRPr lang="zh-CN" altLang="en-US" sz="3600" dirty="0">
                  <a:solidFill>
                    <a:schemeClr val="bg1"/>
                  </a:solidFill>
                  <a:ea typeface="方正粗倩简体" pitchFamily="65" charset="-122"/>
                </a:endParaRPr>
              </a:p>
            </p:txBody>
          </p:sp>
        </p:grpSp>
        <p:sp>
          <p:nvSpPr>
            <p:cNvPr id="52" name="矩形 51"/>
            <p:cNvSpPr/>
            <p:nvPr/>
          </p:nvSpPr>
          <p:spPr>
            <a:xfrm rot="1795975" flipH="1">
              <a:off x="3976330" y="4762614"/>
              <a:ext cx="1581746" cy="870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sp>
        <p:nvSpPr>
          <p:cNvPr id="53" name="矩形 52"/>
          <p:cNvSpPr>
            <a:spLocks noChangeArrowheads="1"/>
          </p:cNvSpPr>
          <p:nvPr/>
        </p:nvSpPr>
        <p:spPr bwMode="auto">
          <a:xfrm>
            <a:off x="1162552" y="337145"/>
            <a:ext cx="4972050" cy="58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altLang="zh-CN" sz="3200" b="1" dirty="0">
                <a:solidFill>
                  <a:srgbClr val="197519"/>
                </a:solidFill>
                <a:latin typeface="Calibri" panose="020F0502020204030204" pitchFamily="34" charset="0"/>
                <a:cs typeface="Calibri" panose="020F0502020204030204" pitchFamily="34" charset="0"/>
              </a:rPr>
              <a:t>Audit Output - Audit Report </a:t>
            </a:r>
          </a:p>
        </p:txBody>
      </p:sp>
      <p:sp>
        <p:nvSpPr>
          <p:cNvPr id="54" name="等腰三角形 53"/>
          <p:cNvSpPr>
            <a:spLocks noChangeArrowheads="1"/>
          </p:cNvSpPr>
          <p:nvPr/>
        </p:nvSpPr>
        <p:spPr bwMode="auto">
          <a:xfrm>
            <a:off x="196850" y="360363"/>
            <a:ext cx="563563" cy="485775"/>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5" name="等腰三角形 54"/>
          <p:cNvSpPr>
            <a:spLocks noChangeArrowheads="1"/>
          </p:cNvSpPr>
          <p:nvPr/>
        </p:nvSpPr>
        <p:spPr bwMode="auto">
          <a:xfrm>
            <a:off x="760413" y="696913"/>
            <a:ext cx="265112" cy="228600"/>
          </a:xfrm>
          <a:prstGeom prst="triangle">
            <a:avLst>
              <a:gd name="adj" fmla="val 50000"/>
            </a:avLst>
          </a:prstGeom>
          <a:solidFill>
            <a:srgbClr val="197519">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6" name="等腰三角形 55"/>
          <p:cNvSpPr>
            <a:spLocks noChangeArrowheads="1"/>
          </p:cNvSpPr>
          <p:nvPr/>
        </p:nvSpPr>
        <p:spPr bwMode="auto">
          <a:xfrm flipH="1">
            <a:off x="630238" y="469900"/>
            <a:ext cx="85725" cy="74613"/>
          </a:xfrm>
          <a:prstGeom prst="triangle">
            <a:avLst>
              <a:gd name="adj" fmla="val 50000"/>
            </a:avLst>
          </a:prstGeom>
          <a:solidFill>
            <a:srgbClr val="197519">
              <a:alpha val="46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7" name="等腰三角形 56"/>
          <p:cNvSpPr>
            <a:spLocks noChangeArrowheads="1"/>
          </p:cNvSpPr>
          <p:nvPr/>
        </p:nvSpPr>
        <p:spPr bwMode="auto">
          <a:xfrm>
            <a:off x="833438" y="490538"/>
            <a:ext cx="177800" cy="152400"/>
          </a:xfrm>
          <a:prstGeom prst="triangle">
            <a:avLst>
              <a:gd name="adj" fmla="val 50000"/>
            </a:avLst>
          </a:prstGeom>
          <a:solidFill>
            <a:srgbClr val="197519">
              <a:alpha val="71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 name="矩形 4"/>
          <p:cNvSpPr/>
          <p:nvPr/>
        </p:nvSpPr>
        <p:spPr bwMode="auto">
          <a:xfrm>
            <a:off x="5981700" y="3634105"/>
            <a:ext cx="5893435" cy="1198880"/>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rtlCol="0" anchor="t">
            <a:spAutoFit/>
          </a:bodyPr>
          <a:lstStyle/>
          <a:p>
            <a:pPr lvl="0" algn="l" latinLnBrk="1">
              <a:buClrTx/>
              <a:buSzTx/>
              <a:buFontTx/>
            </a:pPr>
            <a:r>
              <a:rPr lang="en-US" sz="2400" b="1" dirty="0">
                <a:latin typeface="Calibri" panose="020F0502020204030204" pitchFamily="34" charset="0"/>
                <a:cs typeface="Calibri" panose="020F0502020204030204" pitchFamily="34" charset="0"/>
                <a:sym typeface="+mn-ea"/>
              </a:rPr>
              <a:t>Describe non‐compliance or observation and recommend corrective action with a timeline      for completion</a:t>
            </a:r>
          </a:p>
        </p:txBody>
      </p:sp>
      <p:grpSp>
        <p:nvGrpSpPr>
          <p:cNvPr id="7" name="组合 6"/>
          <p:cNvGrpSpPr/>
          <p:nvPr/>
        </p:nvGrpSpPr>
        <p:grpSpPr bwMode="auto">
          <a:xfrm>
            <a:off x="3953669" y="4839633"/>
            <a:ext cx="1763712" cy="1112838"/>
            <a:chOff x="3976330" y="4762614"/>
            <a:chExt cx="1764377" cy="1113179"/>
          </a:xfrm>
        </p:grpSpPr>
        <p:grpSp>
          <p:nvGrpSpPr>
            <p:cNvPr id="8" name="组合 11"/>
            <p:cNvGrpSpPr/>
            <p:nvPr/>
          </p:nvGrpSpPr>
          <p:grpSpPr bwMode="auto">
            <a:xfrm>
              <a:off x="4735934" y="4919339"/>
              <a:ext cx="1004773" cy="956454"/>
              <a:chOff x="4735934" y="4919339"/>
              <a:chExt cx="1004773" cy="956454"/>
            </a:xfrm>
          </p:grpSpPr>
          <p:sp>
            <p:nvSpPr>
              <p:cNvPr id="9" name="等腰三角形 22"/>
              <p:cNvSpPr>
                <a:spLocks noChangeArrowheads="1"/>
              </p:cNvSpPr>
              <p:nvPr/>
            </p:nvSpPr>
            <p:spPr bwMode="auto">
              <a:xfrm rot="3600000">
                <a:off x="4850216" y="4985302"/>
                <a:ext cx="956454" cy="824528"/>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0" name="文本框 28"/>
              <p:cNvSpPr txBox="1">
                <a:spLocks noChangeArrowheads="1"/>
              </p:cNvSpPr>
              <p:nvPr/>
            </p:nvSpPr>
            <p:spPr bwMode="auto">
              <a:xfrm>
                <a:off x="4735934" y="5120141"/>
                <a:ext cx="915308" cy="645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3600" dirty="0">
                    <a:solidFill>
                      <a:schemeClr val="bg1"/>
                    </a:solidFill>
                  </a:rPr>
                  <a:t>04</a:t>
                </a:r>
                <a:endParaRPr lang="zh-CN" altLang="en-US" sz="3600" dirty="0">
                  <a:solidFill>
                    <a:schemeClr val="bg1"/>
                  </a:solidFill>
                  <a:ea typeface="方正粗倩简体" pitchFamily="65" charset="-122"/>
                </a:endParaRPr>
              </a:p>
            </p:txBody>
          </p:sp>
        </p:grpSp>
        <p:sp>
          <p:nvSpPr>
            <p:cNvPr id="11" name="矩形 10"/>
            <p:cNvSpPr/>
            <p:nvPr/>
          </p:nvSpPr>
          <p:spPr>
            <a:xfrm rot="1795975" flipH="1">
              <a:off x="3976330" y="4762614"/>
              <a:ext cx="1581746" cy="870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sp>
        <p:nvSpPr>
          <p:cNvPr id="12" name="矩形 11"/>
          <p:cNvSpPr/>
          <p:nvPr/>
        </p:nvSpPr>
        <p:spPr bwMode="auto">
          <a:xfrm>
            <a:off x="5795010" y="5362575"/>
            <a:ext cx="6240145" cy="46037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rtlCol="0" anchor="t">
            <a:spAutoFit/>
          </a:bodyPr>
          <a:lstStyle/>
          <a:p>
            <a:pPr lvl="0" algn="l" latinLnBrk="1">
              <a:buClrTx/>
              <a:buSzTx/>
              <a:buFontTx/>
            </a:pPr>
            <a:r>
              <a:rPr lang="en-US" sz="2400" b="1" dirty="0">
                <a:latin typeface="Calibri" panose="020F0502020204030204" pitchFamily="34" charset="0"/>
                <a:cs typeface="Calibri" panose="020F0502020204030204" pitchFamily="34" charset="0"/>
                <a:sym typeface="+mn-ea"/>
              </a:rPr>
              <a:t>Responsibility and verification method required</a:t>
            </a:r>
          </a:p>
        </p:txBody>
      </p:sp>
    </p:spTree>
  </p:cSld>
  <p:clrMapOvr>
    <a:masterClrMapping/>
  </p:clrMapOvr>
  <p:transition spd="slow">
    <p:blinds dir="vert"/>
  </p:transition>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 name="等腰三角形 17"/>
          <p:cNvSpPr>
            <a:spLocks noChangeArrowheads="1"/>
          </p:cNvSpPr>
          <p:nvPr/>
        </p:nvSpPr>
        <p:spPr bwMode="auto">
          <a:xfrm rot="9233090">
            <a:off x="11149013" y="6661150"/>
            <a:ext cx="122237" cy="104775"/>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19" name="等腰三角形 18"/>
          <p:cNvSpPr>
            <a:spLocks noChangeArrowheads="1"/>
          </p:cNvSpPr>
          <p:nvPr/>
        </p:nvSpPr>
        <p:spPr bwMode="auto">
          <a:xfrm rot="-6030424">
            <a:off x="10908506" y="6634957"/>
            <a:ext cx="180975" cy="157162"/>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20" name="等腰三角形 19"/>
          <p:cNvSpPr>
            <a:spLocks noChangeArrowheads="1"/>
          </p:cNvSpPr>
          <p:nvPr/>
        </p:nvSpPr>
        <p:spPr bwMode="auto">
          <a:xfrm rot="-228606">
            <a:off x="11363325" y="6643688"/>
            <a:ext cx="122238" cy="104775"/>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21" name="等腰三角形 20"/>
          <p:cNvSpPr>
            <a:spLocks noChangeArrowheads="1"/>
          </p:cNvSpPr>
          <p:nvPr/>
        </p:nvSpPr>
        <p:spPr bwMode="auto">
          <a:xfrm rot="-3389783">
            <a:off x="11102975" y="6572251"/>
            <a:ext cx="58737" cy="49212"/>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22" name="等腰三角形 21"/>
          <p:cNvSpPr>
            <a:spLocks noChangeArrowheads="1"/>
          </p:cNvSpPr>
          <p:nvPr/>
        </p:nvSpPr>
        <p:spPr bwMode="auto">
          <a:xfrm rot="8748521">
            <a:off x="11291888" y="6657975"/>
            <a:ext cx="58737" cy="49213"/>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5" name="Freeform 5"/>
          <p:cNvSpPr>
            <a:spLocks noEditPoints="1" noChangeArrowheads="1"/>
          </p:cNvSpPr>
          <p:nvPr/>
        </p:nvSpPr>
        <p:spPr bwMode="auto">
          <a:xfrm rot="21144098">
            <a:off x="251460" y="3749675"/>
            <a:ext cx="2281555" cy="2592705"/>
          </a:xfrm>
          <a:custGeom>
            <a:avLst/>
            <a:gdLst>
              <a:gd name="T0" fmla="*/ 14 w 71"/>
              <a:gd name="T1" fmla="*/ 4 h 81"/>
              <a:gd name="T2" fmla="*/ 6 w 71"/>
              <a:gd name="T3" fmla="*/ 13 h 81"/>
              <a:gd name="T4" fmla="*/ 14 w 71"/>
              <a:gd name="T5" fmla="*/ 22 h 81"/>
              <a:gd name="T6" fmla="*/ 23 w 71"/>
              <a:gd name="T7" fmla="*/ 13 h 81"/>
              <a:gd name="T8" fmla="*/ 14 w 71"/>
              <a:gd name="T9" fmla="*/ 4 h 81"/>
              <a:gd name="T10" fmla="*/ 40 w 71"/>
              <a:gd name="T11" fmla="*/ 23 h 81"/>
              <a:gd name="T12" fmla="*/ 41 w 71"/>
              <a:gd name="T13" fmla="*/ 30 h 81"/>
              <a:gd name="T14" fmla="*/ 45 w 71"/>
              <a:gd name="T15" fmla="*/ 31 h 81"/>
              <a:gd name="T16" fmla="*/ 48 w 71"/>
              <a:gd name="T17" fmla="*/ 25 h 81"/>
              <a:gd name="T18" fmla="*/ 40 w 71"/>
              <a:gd name="T19" fmla="*/ 23 h 81"/>
              <a:gd name="T20" fmla="*/ 53 w 71"/>
              <a:gd name="T21" fmla="*/ 26 h 81"/>
              <a:gd name="T22" fmla="*/ 48 w 71"/>
              <a:gd name="T23" fmla="*/ 35 h 81"/>
              <a:gd name="T24" fmla="*/ 48 w 71"/>
              <a:gd name="T25" fmla="*/ 37 h 81"/>
              <a:gd name="T26" fmla="*/ 46 w 71"/>
              <a:gd name="T27" fmla="*/ 36 h 81"/>
              <a:gd name="T28" fmla="*/ 42 w 71"/>
              <a:gd name="T29" fmla="*/ 35 h 81"/>
              <a:gd name="T30" fmla="*/ 31 w 71"/>
              <a:gd name="T31" fmla="*/ 43 h 81"/>
              <a:gd name="T32" fmla="*/ 24 w 71"/>
              <a:gd name="T33" fmla="*/ 36 h 81"/>
              <a:gd name="T34" fmla="*/ 24 w 71"/>
              <a:gd name="T35" fmla="*/ 51 h 81"/>
              <a:gd name="T36" fmla="*/ 25 w 71"/>
              <a:gd name="T37" fmla="*/ 81 h 81"/>
              <a:gd name="T38" fmla="*/ 18 w 71"/>
              <a:gd name="T39" fmla="*/ 81 h 81"/>
              <a:gd name="T40" fmla="*/ 16 w 71"/>
              <a:gd name="T41" fmla="*/ 55 h 81"/>
              <a:gd name="T42" fmla="*/ 13 w 71"/>
              <a:gd name="T43" fmla="*/ 55 h 81"/>
              <a:gd name="T44" fmla="*/ 12 w 71"/>
              <a:gd name="T45" fmla="*/ 81 h 81"/>
              <a:gd name="T46" fmla="*/ 4 w 71"/>
              <a:gd name="T47" fmla="*/ 81 h 81"/>
              <a:gd name="T48" fmla="*/ 5 w 71"/>
              <a:gd name="T49" fmla="*/ 51 h 81"/>
              <a:gd name="T50" fmla="*/ 0 w 71"/>
              <a:gd name="T51" fmla="*/ 46 h 81"/>
              <a:gd name="T52" fmla="*/ 4 w 71"/>
              <a:gd name="T53" fmla="*/ 24 h 81"/>
              <a:gd name="T54" fmla="*/ 25 w 71"/>
              <a:gd name="T55" fmla="*/ 24 h 81"/>
              <a:gd name="T56" fmla="*/ 32 w 71"/>
              <a:gd name="T57" fmla="*/ 34 h 81"/>
              <a:gd name="T58" fmla="*/ 37 w 71"/>
              <a:gd name="T59" fmla="*/ 33 h 81"/>
              <a:gd name="T60" fmla="*/ 37 w 71"/>
              <a:gd name="T61" fmla="*/ 33 h 81"/>
              <a:gd name="T62" fmla="*/ 35 w 71"/>
              <a:gd name="T63" fmla="*/ 22 h 81"/>
              <a:gd name="T64" fmla="*/ 28 w 71"/>
              <a:gd name="T65" fmla="*/ 20 h 81"/>
              <a:gd name="T66" fmla="*/ 28 w 71"/>
              <a:gd name="T67" fmla="*/ 10 h 81"/>
              <a:gd name="T68" fmla="*/ 71 w 71"/>
              <a:gd name="T69" fmla="*/ 0 h 81"/>
              <a:gd name="T70" fmla="*/ 71 w 71"/>
              <a:gd name="T71" fmla="*/ 30 h 81"/>
              <a:gd name="T72" fmla="*/ 53 w 71"/>
              <a:gd name="T73" fmla="*/ 26 h 81"/>
              <a:gd name="T74" fmla="*/ 31 w 71"/>
              <a:gd name="T75" fmla="*/ 12 h 81"/>
              <a:gd name="T76" fmla="*/ 31 w 71"/>
              <a:gd name="T77" fmla="*/ 14 h 81"/>
              <a:gd name="T78" fmla="*/ 67 w 71"/>
              <a:gd name="T79" fmla="*/ 12 h 81"/>
              <a:gd name="T80" fmla="*/ 67 w 71"/>
              <a:gd name="T81" fmla="*/ 5 h 81"/>
              <a:gd name="T82" fmla="*/ 31 w 71"/>
              <a:gd name="T83" fmla="*/ 1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 h="81">
                <a:moveTo>
                  <a:pt x="14" y="4"/>
                </a:moveTo>
                <a:cubicBezTo>
                  <a:pt x="10" y="4"/>
                  <a:pt x="6" y="8"/>
                  <a:pt x="6" y="13"/>
                </a:cubicBezTo>
                <a:cubicBezTo>
                  <a:pt x="6" y="18"/>
                  <a:pt x="10" y="22"/>
                  <a:pt x="14" y="22"/>
                </a:cubicBezTo>
                <a:cubicBezTo>
                  <a:pt x="19" y="22"/>
                  <a:pt x="23" y="18"/>
                  <a:pt x="23" y="13"/>
                </a:cubicBezTo>
                <a:cubicBezTo>
                  <a:pt x="23" y="8"/>
                  <a:pt x="19" y="4"/>
                  <a:pt x="14" y="4"/>
                </a:cubicBezTo>
                <a:close/>
                <a:moveTo>
                  <a:pt x="40" y="23"/>
                </a:moveTo>
                <a:cubicBezTo>
                  <a:pt x="41" y="30"/>
                  <a:pt x="41" y="30"/>
                  <a:pt x="41" y="30"/>
                </a:cubicBezTo>
                <a:cubicBezTo>
                  <a:pt x="45" y="31"/>
                  <a:pt x="45" y="31"/>
                  <a:pt x="45" y="31"/>
                </a:cubicBezTo>
                <a:cubicBezTo>
                  <a:pt x="48" y="25"/>
                  <a:pt x="48" y="25"/>
                  <a:pt x="48" y="25"/>
                </a:cubicBezTo>
                <a:cubicBezTo>
                  <a:pt x="40" y="23"/>
                  <a:pt x="40" y="23"/>
                  <a:pt x="40" y="23"/>
                </a:cubicBezTo>
                <a:close/>
                <a:moveTo>
                  <a:pt x="53" y="26"/>
                </a:moveTo>
                <a:cubicBezTo>
                  <a:pt x="48" y="35"/>
                  <a:pt x="48" y="35"/>
                  <a:pt x="48" y="35"/>
                </a:cubicBezTo>
                <a:cubicBezTo>
                  <a:pt x="48" y="37"/>
                  <a:pt x="48" y="37"/>
                  <a:pt x="48" y="37"/>
                </a:cubicBezTo>
                <a:cubicBezTo>
                  <a:pt x="46" y="36"/>
                  <a:pt x="46" y="36"/>
                  <a:pt x="46" y="36"/>
                </a:cubicBezTo>
                <a:cubicBezTo>
                  <a:pt x="42" y="35"/>
                  <a:pt x="42" y="35"/>
                  <a:pt x="42" y="35"/>
                </a:cubicBezTo>
                <a:cubicBezTo>
                  <a:pt x="31" y="43"/>
                  <a:pt x="31" y="43"/>
                  <a:pt x="31" y="43"/>
                </a:cubicBezTo>
                <a:cubicBezTo>
                  <a:pt x="24" y="36"/>
                  <a:pt x="24" y="36"/>
                  <a:pt x="24" y="36"/>
                </a:cubicBezTo>
                <a:cubicBezTo>
                  <a:pt x="24" y="51"/>
                  <a:pt x="24" y="51"/>
                  <a:pt x="24" y="51"/>
                </a:cubicBezTo>
                <a:cubicBezTo>
                  <a:pt x="25" y="81"/>
                  <a:pt x="25" y="81"/>
                  <a:pt x="25" y="81"/>
                </a:cubicBezTo>
                <a:cubicBezTo>
                  <a:pt x="18" y="81"/>
                  <a:pt x="18" y="81"/>
                  <a:pt x="18" y="81"/>
                </a:cubicBezTo>
                <a:cubicBezTo>
                  <a:pt x="16" y="55"/>
                  <a:pt x="16" y="55"/>
                  <a:pt x="16" y="55"/>
                </a:cubicBezTo>
                <a:cubicBezTo>
                  <a:pt x="13" y="55"/>
                  <a:pt x="13" y="55"/>
                  <a:pt x="13" y="55"/>
                </a:cubicBezTo>
                <a:cubicBezTo>
                  <a:pt x="12" y="81"/>
                  <a:pt x="12" y="81"/>
                  <a:pt x="12" y="81"/>
                </a:cubicBezTo>
                <a:cubicBezTo>
                  <a:pt x="4" y="81"/>
                  <a:pt x="4" y="81"/>
                  <a:pt x="4" y="81"/>
                </a:cubicBezTo>
                <a:cubicBezTo>
                  <a:pt x="5" y="51"/>
                  <a:pt x="5" y="51"/>
                  <a:pt x="5" y="51"/>
                </a:cubicBezTo>
                <a:cubicBezTo>
                  <a:pt x="4" y="49"/>
                  <a:pt x="2" y="48"/>
                  <a:pt x="0" y="46"/>
                </a:cubicBezTo>
                <a:cubicBezTo>
                  <a:pt x="4" y="24"/>
                  <a:pt x="4" y="24"/>
                  <a:pt x="4" y="24"/>
                </a:cubicBezTo>
                <a:cubicBezTo>
                  <a:pt x="27" y="24"/>
                  <a:pt x="2" y="24"/>
                  <a:pt x="25" y="24"/>
                </a:cubicBezTo>
                <a:cubicBezTo>
                  <a:pt x="32" y="34"/>
                  <a:pt x="32" y="34"/>
                  <a:pt x="32" y="34"/>
                </a:cubicBezTo>
                <a:cubicBezTo>
                  <a:pt x="37" y="33"/>
                  <a:pt x="37" y="33"/>
                  <a:pt x="37" y="33"/>
                </a:cubicBezTo>
                <a:cubicBezTo>
                  <a:pt x="37" y="33"/>
                  <a:pt x="37" y="33"/>
                  <a:pt x="37" y="33"/>
                </a:cubicBezTo>
                <a:cubicBezTo>
                  <a:pt x="35" y="22"/>
                  <a:pt x="35" y="22"/>
                  <a:pt x="35" y="22"/>
                </a:cubicBezTo>
                <a:cubicBezTo>
                  <a:pt x="28" y="20"/>
                  <a:pt x="28" y="20"/>
                  <a:pt x="28" y="20"/>
                </a:cubicBezTo>
                <a:cubicBezTo>
                  <a:pt x="28" y="10"/>
                  <a:pt x="28" y="10"/>
                  <a:pt x="28" y="10"/>
                </a:cubicBezTo>
                <a:cubicBezTo>
                  <a:pt x="71" y="0"/>
                  <a:pt x="71" y="0"/>
                  <a:pt x="71" y="0"/>
                </a:cubicBezTo>
                <a:cubicBezTo>
                  <a:pt x="71" y="30"/>
                  <a:pt x="71" y="30"/>
                  <a:pt x="71" y="30"/>
                </a:cubicBezTo>
                <a:cubicBezTo>
                  <a:pt x="53" y="26"/>
                  <a:pt x="53" y="26"/>
                  <a:pt x="53" y="26"/>
                </a:cubicBezTo>
                <a:close/>
                <a:moveTo>
                  <a:pt x="31" y="12"/>
                </a:moveTo>
                <a:cubicBezTo>
                  <a:pt x="31" y="14"/>
                  <a:pt x="31" y="14"/>
                  <a:pt x="31" y="14"/>
                </a:cubicBezTo>
                <a:cubicBezTo>
                  <a:pt x="67" y="12"/>
                  <a:pt x="67" y="12"/>
                  <a:pt x="67" y="12"/>
                </a:cubicBezTo>
                <a:cubicBezTo>
                  <a:pt x="67" y="5"/>
                  <a:pt x="67" y="5"/>
                  <a:pt x="67" y="5"/>
                </a:cubicBezTo>
                <a:lnTo>
                  <a:pt x="31" y="12"/>
                </a:lnTo>
                <a:close/>
              </a:path>
            </a:pathLst>
          </a:custGeom>
          <a:solidFill>
            <a:srgbClr val="197519"/>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cxnSp>
        <p:nvCxnSpPr>
          <p:cNvPr id="3" name="直接连接符 2"/>
          <p:cNvCxnSpPr/>
          <p:nvPr/>
        </p:nvCxnSpPr>
        <p:spPr>
          <a:xfrm flipV="1">
            <a:off x="2548255" y="2341245"/>
            <a:ext cx="1238250" cy="1085850"/>
          </a:xfrm>
          <a:prstGeom prst="line">
            <a:avLst/>
          </a:prstGeom>
          <a:ln w="53975">
            <a:gradFill>
              <a:gsLst>
                <a:gs pos="0">
                  <a:schemeClr val="accent1">
                    <a:lumMod val="5000"/>
                    <a:lumOff val="95000"/>
                  </a:schemeClr>
                </a:gs>
                <a:gs pos="60000">
                  <a:srgbClr val="197519">
                    <a:alpha val="85000"/>
                  </a:srgbClr>
                </a:gs>
                <a:gs pos="100000">
                  <a:srgbClr val="19751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 name="直接连接符 5"/>
          <p:cNvCxnSpPr/>
          <p:nvPr/>
        </p:nvCxnSpPr>
        <p:spPr>
          <a:xfrm flipV="1">
            <a:off x="2862580" y="3441065"/>
            <a:ext cx="1414780" cy="445135"/>
          </a:xfrm>
          <a:prstGeom prst="line">
            <a:avLst/>
          </a:prstGeom>
          <a:ln w="53975">
            <a:gradFill>
              <a:gsLst>
                <a:gs pos="0">
                  <a:schemeClr val="accent1">
                    <a:lumMod val="5000"/>
                    <a:lumOff val="95000"/>
                  </a:schemeClr>
                </a:gs>
                <a:gs pos="60000">
                  <a:srgbClr val="197519">
                    <a:alpha val="85000"/>
                  </a:srgbClr>
                </a:gs>
                <a:gs pos="100000">
                  <a:srgbClr val="197519"/>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a:off x="2862580" y="4544695"/>
            <a:ext cx="1285875" cy="70485"/>
          </a:xfrm>
          <a:prstGeom prst="line">
            <a:avLst/>
          </a:prstGeom>
          <a:ln w="53975">
            <a:gradFill>
              <a:gsLst>
                <a:gs pos="0">
                  <a:schemeClr val="accent1">
                    <a:lumMod val="5000"/>
                    <a:lumOff val="95000"/>
                  </a:schemeClr>
                </a:gs>
                <a:gs pos="60000">
                  <a:srgbClr val="197519">
                    <a:alpha val="85000"/>
                  </a:srgbClr>
                </a:gs>
                <a:gs pos="100000">
                  <a:srgbClr val="197519"/>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4" name="组合 3"/>
          <p:cNvGrpSpPr/>
          <p:nvPr/>
        </p:nvGrpSpPr>
        <p:grpSpPr bwMode="auto">
          <a:xfrm>
            <a:off x="4686935" y="2901950"/>
            <a:ext cx="742950" cy="742950"/>
            <a:chOff x="5519224" y="2881313"/>
            <a:chExt cx="742950" cy="742950"/>
          </a:xfrm>
        </p:grpSpPr>
        <p:sp>
          <p:nvSpPr>
            <p:cNvPr id="14347" name="椭圆 27"/>
            <p:cNvSpPr>
              <a:spLocks noChangeArrowheads="1"/>
            </p:cNvSpPr>
            <p:nvPr/>
          </p:nvSpPr>
          <p:spPr bwMode="auto">
            <a:xfrm>
              <a:off x="5519224" y="2881313"/>
              <a:ext cx="742950" cy="742950"/>
            </a:xfrm>
            <a:prstGeom prst="ellipse">
              <a:avLst/>
            </a:prstGeom>
            <a:solidFill>
              <a:srgbClr val="197519"/>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348" name="Freeform 13"/>
            <p:cNvSpPr>
              <a:spLocks noEditPoints="1" noChangeArrowheads="1"/>
            </p:cNvSpPr>
            <p:nvPr/>
          </p:nvSpPr>
          <p:spPr bwMode="auto">
            <a:xfrm>
              <a:off x="5666827" y="3037738"/>
              <a:ext cx="482670" cy="388892"/>
            </a:xfrm>
            <a:custGeom>
              <a:avLst/>
              <a:gdLst>
                <a:gd name="T0" fmla="*/ 55 w 77"/>
                <a:gd name="T1" fmla="*/ 14 h 59"/>
                <a:gd name="T2" fmla="*/ 4 w 77"/>
                <a:gd name="T3" fmla="*/ 18 h 59"/>
                <a:gd name="T4" fmla="*/ 65 w 77"/>
                <a:gd name="T5" fmla="*/ 55 h 59"/>
                <a:gd name="T6" fmla="*/ 67 w 77"/>
                <a:gd name="T7" fmla="*/ 34 h 59"/>
                <a:gd name="T8" fmla="*/ 68 w 77"/>
                <a:gd name="T9" fmla="*/ 32 h 59"/>
                <a:gd name="T10" fmla="*/ 68 w 77"/>
                <a:gd name="T11" fmla="*/ 31 h 59"/>
                <a:gd name="T12" fmla="*/ 68 w 77"/>
                <a:gd name="T13" fmla="*/ 59 h 59"/>
                <a:gd name="T14" fmla="*/ 2 w 77"/>
                <a:gd name="T15" fmla="*/ 59 h 59"/>
                <a:gd name="T16" fmla="*/ 0 w 77"/>
                <a:gd name="T17" fmla="*/ 57 h 59"/>
                <a:gd name="T18" fmla="*/ 0 w 77"/>
                <a:gd name="T19" fmla="*/ 14 h 59"/>
                <a:gd name="T20" fmla="*/ 10 w 77"/>
                <a:gd name="T21" fmla="*/ 38 h 59"/>
                <a:gd name="T22" fmla="*/ 29 w 77"/>
                <a:gd name="T23" fmla="*/ 41 h 59"/>
                <a:gd name="T24" fmla="*/ 10 w 77"/>
                <a:gd name="T25" fmla="*/ 38 h 59"/>
                <a:gd name="T26" fmla="*/ 10 w 77"/>
                <a:gd name="T27" fmla="*/ 33 h 59"/>
                <a:gd name="T28" fmla="*/ 43 w 77"/>
                <a:gd name="T29" fmla="*/ 30 h 59"/>
                <a:gd name="T30" fmla="*/ 10 w 77"/>
                <a:gd name="T31" fmla="*/ 22 h 59"/>
                <a:gd name="T32" fmla="*/ 43 w 77"/>
                <a:gd name="T33" fmla="*/ 25 h 59"/>
                <a:gd name="T34" fmla="*/ 10 w 77"/>
                <a:gd name="T35" fmla="*/ 22 h 59"/>
                <a:gd name="T36" fmla="*/ 71 w 77"/>
                <a:gd name="T37" fmla="*/ 9 h 59"/>
                <a:gd name="T38" fmla="*/ 67 w 77"/>
                <a:gd name="T39" fmla="*/ 25 h 59"/>
                <a:gd name="T40" fmla="*/ 70 w 77"/>
                <a:gd name="T41" fmla="*/ 24 h 59"/>
                <a:gd name="T42" fmla="*/ 76 w 77"/>
                <a:gd name="T43" fmla="*/ 10 h 59"/>
                <a:gd name="T44" fmla="*/ 75 w 77"/>
                <a:gd name="T45" fmla="*/ 8 h 59"/>
                <a:gd name="T46" fmla="*/ 61 w 77"/>
                <a:gd name="T47" fmla="*/ 9 h 59"/>
                <a:gd name="T48" fmla="*/ 65 w 77"/>
                <a:gd name="T49" fmla="*/ 29 h 59"/>
                <a:gd name="T50" fmla="*/ 52 w 77"/>
                <a:gd name="T51" fmla="*/ 40 h 59"/>
                <a:gd name="T52" fmla="*/ 50 w 77"/>
                <a:gd name="T53" fmla="*/ 49 h 59"/>
                <a:gd name="T54" fmla="*/ 53 w 77"/>
                <a:gd name="T55" fmla="*/ 45 h 59"/>
                <a:gd name="T56" fmla="*/ 54 w 77"/>
                <a:gd name="T57" fmla="*/ 43 h 59"/>
                <a:gd name="T58" fmla="*/ 54 w 77"/>
                <a:gd name="T59" fmla="*/ 46 h 59"/>
                <a:gd name="T60" fmla="*/ 53 w 77"/>
                <a:gd name="T61" fmla="*/ 50 h 59"/>
                <a:gd name="T62" fmla="*/ 59 w 77"/>
                <a:gd name="T63" fmla="*/ 42 h 59"/>
                <a:gd name="T64" fmla="*/ 64 w 77"/>
                <a:gd name="T65" fmla="*/ 30 h 59"/>
                <a:gd name="T66" fmla="*/ 51 w 77"/>
                <a:gd name="T67" fmla="*/ 38 h 59"/>
                <a:gd name="T68" fmla="*/ 64 w 77"/>
                <a:gd name="T69" fmla="*/ 30 h 59"/>
                <a:gd name="T70" fmla="*/ 24 w 77"/>
                <a:gd name="T71" fmla="*/ 52 h 59"/>
                <a:gd name="T72" fmla="*/ 29 w 77"/>
                <a:gd name="T73" fmla="*/ 48 h 59"/>
                <a:gd name="T74" fmla="*/ 30 w 77"/>
                <a:gd name="T75" fmla="*/ 52 h 59"/>
                <a:gd name="T76" fmla="*/ 37 w 77"/>
                <a:gd name="T77" fmla="*/ 50 h 59"/>
                <a:gd name="T78" fmla="*/ 40 w 77"/>
                <a:gd name="T79" fmla="*/ 51 h 59"/>
                <a:gd name="T80" fmla="*/ 40 w 77"/>
                <a:gd name="T81" fmla="*/ 51 h 59"/>
                <a:gd name="T82" fmla="*/ 40 w 77"/>
                <a:gd name="T83" fmla="*/ 54 h 59"/>
                <a:gd name="T84" fmla="*/ 46 w 77"/>
                <a:gd name="T85" fmla="*/ 55 h 59"/>
                <a:gd name="T86" fmla="*/ 43 w 77"/>
                <a:gd name="T87" fmla="*/ 52 h 59"/>
                <a:gd name="T88" fmla="*/ 43 w 77"/>
                <a:gd name="T89" fmla="*/ 52 h 59"/>
                <a:gd name="T90" fmla="*/ 42 w 77"/>
                <a:gd name="T91" fmla="*/ 48 h 59"/>
                <a:gd name="T92" fmla="*/ 39 w 77"/>
                <a:gd name="T93" fmla="*/ 49 h 59"/>
                <a:gd name="T94" fmla="*/ 31 w 77"/>
                <a:gd name="T95" fmla="*/ 49 h 59"/>
                <a:gd name="T96" fmla="*/ 23 w 77"/>
                <a:gd name="T97" fmla="*/ 5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7" h="59">
                  <a:moveTo>
                    <a:pt x="2" y="14"/>
                  </a:moveTo>
                  <a:cubicBezTo>
                    <a:pt x="55" y="14"/>
                    <a:pt x="55" y="14"/>
                    <a:pt x="55" y="14"/>
                  </a:cubicBezTo>
                  <a:cubicBezTo>
                    <a:pt x="55" y="16"/>
                    <a:pt x="54" y="17"/>
                    <a:pt x="54" y="18"/>
                  </a:cubicBezTo>
                  <a:cubicBezTo>
                    <a:pt x="4" y="18"/>
                    <a:pt x="4" y="18"/>
                    <a:pt x="4" y="18"/>
                  </a:cubicBezTo>
                  <a:cubicBezTo>
                    <a:pt x="4" y="55"/>
                    <a:pt x="4" y="55"/>
                    <a:pt x="4" y="55"/>
                  </a:cubicBezTo>
                  <a:cubicBezTo>
                    <a:pt x="65" y="55"/>
                    <a:pt x="65" y="55"/>
                    <a:pt x="65" y="55"/>
                  </a:cubicBezTo>
                  <a:cubicBezTo>
                    <a:pt x="65" y="40"/>
                    <a:pt x="65" y="40"/>
                    <a:pt x="65" y="40"/>
                  </a:cubicBezTo>
                  <a:cubicBezTo>
                    <a:pt x="65" y="38"/>
                    <a:pt x="66" y="36"/>
                    <a:pt x="67" y="34"/>
                  </a:cubicBezTo>
                  <a:cubicBezTo>
                    <a:pt x="67" y="34"/>
                    <a:pt x="67" y="34"/>
                    <a:pt x="67" y="34"/>
                  </a:cubicBezTo>
                  <a:cubicBezTo>
                    <a:pt x="68" y="32"/>
                    <a:pt x="68" y="32"/>
                    <a:pt x="68" y="32"/>
                  </a:cubicBezTo>
                  <a:cubicBezTo>
                    <a:pt x="68" y="31"/>
                    <a:pt x="68" y="31"/>
                    <a:pt x="68" y="31"/>
                  </a:cubicBezTo>
                  <a:cubicBezTo>
                    <a:pt x="68" y="31"/>
                    <a:pt x="68" y="31"/>
                    <a:pt x="68" y="31"/>
                  </a:cubicBezTo>
                  <a:cubicBezTo>
                    <a:pt x="68" y="57"/>
                    <a:pt x="68" y="57"/>
                    <a:pt x="68" y="57"/>
                  </a:cubicBezTo>
                  <a:cubicBezTo>
                    <a:pt x="68" y="59"/>
                    <a:pt x="68" y="59"/>
                    <a:pt x="68" y="59"/>
                  </a:cubicBezTo>
                  <a:cubicBezTo>
                    <a:pt x="66" y="59"/>
                    <a:pt x="66" y="59"/>
                    <a:pt x="66" y="59"/>
                  </a:cubicBezTo>
                  <a:cubicBezTo>
                    <a:pt x="2" y="59"/>
                    <a:pt x="2" y="59"/>
                    <a:pt x="2" y="59"/>
                  </a:cubicBezTo>
                  <a:cubicBezTo>
                    <a:pt x="0" y="59"/>
                    <a:pt x="0" y="59"/>
                    <a:pt x="0" y="59"/>
                  </a:cubicBezTo>
                  <a:cubicBezTo>
                    <a:pt x="0" y="57"/>
                    <a:pt x="0" y="57"/>
                    <a:pt x="0" y="57"/>
                  </a:cubicBezTo>
                  <a:cubicBezTo>
                    <a:pt x="0" y="16"/>
                    <a:pt x="0" y="16"/>
                    <a:pt x="0" y="16"/>
                  </a:cubicBezTo>
                  <a:cubicBezTo>
                    <a:pt x="0" y="14"/>
                    <a:pt x="0" y="14"/>
                    <a:pt x="0" y="14"/>
                  </a:cubicBezTo>
                  <a:cubicBezTo>
                    <a:pt x="2" y="14"/>
                    <a:pt x="2" y="14"/>
                    <a:pt x="2" y="14"/>
                  </a:cubicBezTo>
                  <a:close/>
                  <a:moveTo>
                    <a:pt x="10" y="38"/>
                  </a:moveTo>
                  <a:cubicBezTo>
                    <a:pt x="10" y="41"/>
                    <a:pt x="10" y="41"/>
                    <a:pt x="10" y="41"/>
                  </a:cubicBezTo>
                  <a:cubicBezTo>
                    <a:pt x="29" y="41"/>
                    <a:pt x="29" y="41"/>
                    <a:pt x="29" y="41"/>
                  </a:cubicBezTo>
                  <a:cubicBezTo>
                    <a:pt x="29" y="38"/>
                    <a:pt x="29" y="38"/>
                    <a:pt x="29" y="38"/>
                  </a:cubicBezTo>
                  <a:cubicBezTo>
                    <a:pt x="10" y="38"/>
                    <a:pt x="10" y="38"/>
                    <a:pt x="10" y="38"/>
                  </a:cubicBezTo>
                  <a:close/>
                  <a:moveTo>
                    <a:pt x="10" y="30"/>
                  </a:moveTo>
                  <a:cubicBezTo>
                    <a:pt x="10" y="33"/>
                    <a:pt x="10" y="33"/>
                    <a:pt x="10" y="33"/>
                  </a:cubicBezTo>
                  <a:cubicBezTo>
                    <a:pt x="43" y="33"/>
                    <a:pt x="43" y="33"/>
                    <a:pt x="43" y="33"/>
                  </a:cubicBezTo>
                  <a:cubicBezTo>
                    <a:pt x="43" y="30"/>
                    <a:pt x="43" y="30"/>
                    <a:pt x="43" y="30"/>
                  </a:cubicBezTo>
                  <a:cubicBezTo>
                    <a:pt x="10" y="30"/>
                    <a:pt x="10" y="30"/>
                    <a:pt x="10" y="30"/>
                  </a:cubicBezTo>
                  <a:close/>
                  <a:moveTo>
                    <a:pt x="10" y="22"/>
                  </a:moveTo>
                  <a:cubicBezTo>
                    <a:pt x="10" y="25"/>
                    <a:pt x="10" y="25"/>
                    <a:pt x="10" y="25"/>
                  </a:cubicBezTo>
                  <a:cubicBezTo>
                    <a:pt x="43" y="25"/>
                    <a:pt x="43" y="25"/>
                    <a:pt x="43" y="25"/>
                  </a:cubicBezTo>
                  <a:cubicBezTo>
                    <a:pt x="43" y="22"/>
                    <a:pt x="43" y="22"/>
                    <a:pt x="43" y="22"/>
                  </a:cubicBezTo>
                  <a:cubicBezTo>
                    <a:pt x="10" y="22"/>
                    <a:pt x="10" y="22"/>
                    <a:pt x="10" y="22"/>
                  </a:cubicBezTo>
                  <a:close/>
                  <a:moveTo>
                    <a:pt x="70" y="12"/>
                  </a:moveTo>
                  <a:cubicBezTo>
                    <a:pt x="71" y="11"/>
                    <a:pt x="71" y="10"/>
                    <a:pt x="71" y="9"/>
                  </a:cubicBezTo>
                  <a:cubicBezTo>
                    <a:pt x="74" y="10"/>
                    <a:pt x="74" y="10"/>
                    <a:pt x="74" y="10"/>
                  </a:cubicBezTo>
                  <a:cubicBezTo>
                    <a:pt x="72" y="13"/>
                    <a:pt x="67" y="24"/>
                    <a:pt x="67" y="25"/>
                  </a:cubicBezTo>
                  <a:cubicBezTo>
                    <a:pt x="68" y="27"/>
                    <a:pt x="69" y="27"/>
                    <a:pt x="69" y="27"/>
                  </a:cubicBezTo>
                  <a:cubicBezTo>
                    <a:pt x="70" y="24"/>
                    <a:pt x="70" y="24"/>
                    <a:pt x="70" y="24"/>
                  </a:cubicBezTo>
                  <a:cubicBezTo>
                    <a:pt x="70" y="24"/>
                    <a:pt x="69" y="24"/>
                    <a:pt x="69" y="24"/>
                  </a:cubicBezTo>
                  <a:cubicBezTo>
                    <a:pt x="69" y="24"/>
                    <a:pt x="76" y="10"/>
                    <a:pt x="76" y="10"/>
                  </a:cubicBezTo>
                  <a:cubicBezTo>
                    <a:pt x="77" y="9"/>
                    <a:pt x="77" y="9"/>
                    <a:pt x="77" y="9"/>
                  </a:cubicBezTo>
                  <a:cubicBezTo>
                    <a:pt x="75" y="8"/>
                    <a:pt x="75" y="8"/>
                    <a:pt x="75" y="8"/>
                  </a:cubicBezTo>
                  <a:cubicBezTo>
                    <a:pt x="71" y="7"/>
                    <a:pt x="71" y="7"/>
                    <a:pt x="71" y="7"/>
                  </a:cubicBezTo>
                  <a:cubicBezTo>
                    <a:pt x="71" y="0"/>
                    <a:pt x="65" y="0"/>
                    <a:pt x="61" y="9"/>
                  </a:cubicBezTo>
                  <a:cubicBezTo>
                    <a:pt x="59" y="15"/>
                    <a:pt x="57" y="20"/>
                    <a:pt x="55" y="25"/>
                  </a:cubicBezTo>
                  <a:cubicBezTo>
                    <a:pt x="65" y="29"/>
                    <a:pt x="65" y="29"/>
                    <a:pt x="65" y="29"/>
                  </a:cubicBezTo>
                  <a:cubicBezTo>
                    <a:pt x="67" y="23"/>
                    <a:pt x="69" y="18"/>
                    <a:pt x="70" y="12"/>
                  </a:cubicBezTo>
                  <a:close/>
                  <a:moveTo>
                    <a:pt x="52" y="40"/>
                  </a:moveTo>
                  <a:cubicBezTo>
                    <a:pt x="49" y="42"/>
                    <a:pt x="49" y="42"/>
                    <a:pt x="49" y="42"/>
                  </a:cubicBezTo>
                  <a:cubicBezTo>
                    <a:pt x="50" y="49"/>
                    <a:pt x="50" y="49"/>
                    <a:pt x="50" y="49"/>
                  </a:cubicBezTo>
                  <a:cubicBezTo>
                    <a:pt x="51" y="49"/>
                    <a:pt x="51" y="49"/>
                    <a:pt x="51" y="49"/>
                  </a:cubicBezTo>
                  <a:cubicBezTo>
                    <a:pt x="53" y="45"/>
                    <a:pt x="53" y="45"/>
                    <a:pt x="53" y="45"/>
                  </a:cubicBezTo>
                  <a:cubicBezTo>
                    <a:pt x="52" y="45"/>
                    <a:pt x="52" y="44"/>
                    <a:pt x="52" y="44"/>
                  </a:cubicBezTo>
                  <a:cubicBezTo>
                    <a:pt x="53" y="43"/>
                    <a:pt x="54" y="42"/>
                    <a:pt x="54" y="43"/>
                  </a:cubicBezTo>
                  <a:cubicBezTo>
                    <a:pt x="55" y="43"/>
                    <a:pt x="55" y="44"/>
                    <a:pt x="55" y="45"/>
                  </a:cubicBezTo>
                  <a:cubicBezTo>
                    <a:pt x="55" y="45"/>
                    <a:pt x="54" y="46"/>
                    <a:pt x="54" y="46"/>
                  </a:cubicBezTo>
                  <a:cubicBezTo>
                    <a:pt x="52" y="50"/>
                    <a:pt x="52" y="50"/>
                    <a:pt x="52" y="50"/>
                  </a:cubicBezTo>
                  <a:cubicBezTo>
                    <a:pt x="53" y="50"/>
                    <a:pt x="53" y="50"/>
                    <a:pt x="53" y="50"/>
                  </a:cubicBezTo>
                  <a:cubicBezTo>
                    <a:pt x="58" y="46"/>
                    <a:pt x="58" y="46"/>
                    <a:pt x="58" y="46"/>
                  </a:cubicBezTo>
                  <a:cubicBezTo>
                    <a:pt x="59" y="42"/>
                    <a:pt x="59" y="42"/>
                    <a:pt x="59" y="42"/>
                  </a:cubicBezTo>
                  <a:cubicBezTo>
                    <a:pt x="52" y="40"/>
                    <a:pt x="52" y="40"/>
                    <a:pt x="52" y="40"/>
                  </a:cubicBezTo>
                  <a:close/>
                  <a:moveTo>
                    <a:pt x="64" y="30"/>
                  </a:moveTo>
                  <a:cubicBezTo>
                    <a:pt x="55" y="27"/>
                    <a:pt x="55" y="27"/>
                    <a:pt x="55" y="27"/>
                  </a:cubicBezTo>
                  <a:cubicBezTo>
                    <a:pt x="54" y="31"/>
                    <a:pt x="53" y="34"/>
                    <a:pt x="51" y="38"/>
                  </a:cubicBezTo>
                  <a:cubicBezTo>
                    <a:pt x="54" y="39"/>
                    <a:pt x="57" y="40"/>
                    <a:pt x="59" y="41"/>
                  </a:cubicBezTo>
                  <a:cubicBezTo>
                    <a:pt x="61" y="38"/>
                    <a:pt x="63" y="34"/>
                    <a:pt x="64" y="30"/>
                  </a:cubicBezTo>
                  <a:close/>
                  <a:moveTo>
                    <a:pt x="23" y="50"/>
                  </a:moveTo>
                  <a:cubicBezTo>
                    <a:pt x="24" y="52"/>
                    <a:pt x="24" y="52"/>
                    <a:pt x="24" y="52"/>
                  </a:cubicBezTo>
                  <a:cubicBezTo>
                    <a:pt x="24" y="52"/>
                    <a:pt x="30" y="46"/>
                    <a:pt x="30" y="47"/>
                  </a:cubicBezTo>
                  <a:cubicBezTo>
                    <a:pt x="30" y="47"/>
                    <a:pt x="30" y="47"/>
                    <a:pt x="29" y="48"/>
                  </a:cubicBezTo>
                  <a:cubicBezTo>
                    <a:pt x="28" y="49"/>
                    <a:pt x="28" y="49"/>
                    <a:pt x="28" y="50"/>
                  </a:cubicBezTo>
                  <a:cubicBezTo>
                    <a:pt x="28" y="51"/>
                    <a:pt x="28" y="52"/>
                    <a:pt x="30" y="52"/>
                  </a:cubicBezTo>
                  <a:cubicBezTo>
                    <a:pt x="32" y="52"/>
                    <a:pt x="33" y="51"/>
                    <a:pt x="34" y="51"/>
                  </a:cubicBezTo>
                  <a:cubicBezTo>
                    <a:pt x="35" y="51"/>
                    <a:pt x="36" y="50"/>
                    <a:pt x="37" y="50"/>
                  </a:cubicBezTo>
                  <a:cubicBezTo>
                    <a:pt x="37" y="51"/>
                    <a:pt x="37" y="51"/>
                    <a:pt x="38" y="51"/>
                  </a:cubicBezTo>
                  <a:cubicBezTo>
                    <a:pt x="38" y="51"/>
                    <a:pt x="39" y="51"/>
                    <a:pt x="40" y="51"/>
                  </a:cubicBezTo>
                  <a:cubicBezTo>
                    <a:pt x="40" y="51"/>
                    <a:pt x="40" y="51"/>
                    <a:pt x="40" y="51"/>
                  </a:cubicBezTo>
                  <a:cubicBezTo>
                    <a:pt x="40" y="51"/>
                    <a:pt x="40" y="51"/>
                    <a:pt x="40" y="51"/>
                  </a:cubicBezTo>
                  <a:cubicBezTo>
                    <a:pt x="40" y="51"/>
                    <a:pt x="40" y="51"/>
                    <a:pt x="40" y="51"/>
                  </a:cubicBezTo>
                  <a:cubicBezTo>
                    <a:pt x="40" y="52"/>
                    <a:pt x="40" y="53"/>
                    <a:pt x="40" y="54"/>
                  </a:cubicBezTo>
                  <a:cubicBezTo>
                    <a:pt x="40" y="55"/>
                    <a:pt x="41" y="55"/>
                    <a:pt x="42" y="55"/>
                  </a:cubicBezTo>
                  <a:cubicBezTo>
                    <a:pt x="43" y="54"/>
                    <a:pt x="46" y="55"/>
                    <a:pt x="46" y="55"/>
                  </a:cubicBezTo>
                  <a:cubicBezTo>
                    <a:pt x="46" y="52"/>
                    <a:pt x="46" y="52"/>
                    <a:pt x="46" y="52"/>
                  </a:cubicBezTo>
                  <a:cubicBezTo>
                    <a:pt x="46" y="52"/>
                    <a:pt x="44" y="52"/>
                    <a:pt x="43" y="52"/>
                  </a:cubicBezTo>
                  <a:cubicBezTo>
                    <a:pt x="43" y="52"/>
                    <a:pt x="43" y="52"/>
                    <a:pt x="43" y="52"/>
                  </a:cubicBezTo>
                  <a:cubicBezTo>
                    <a:pt x="43" y="52"/>
                    <a:pt x="43" y="52"/>
                    <a:pt x="43" y="52"/>
                  </a:cubicBezTo>
                  <a:cubicBezTo>
                    <a:pt x="43" y="51"/>
                    <a:pt x="43" y="51"/>
                    <a:pt x="43" y="51"/>
                  </a:cubicBezTo>
                  <a:cubicBezTo>
                    <a:pt x="43" y="49"/>
                    <a:pt x="43" y="48"/>
                    <a:pt x="42" y="48"/>
                  </a:cubicBezTo>
                  <a:cubicBezTo>
                    <a:pt x="41" y="48"/>
                    <a:pt x="40" y="48"/>
                    <a:pt x="39" y="49"/>
                  </a:cubicBezTo>
                  <a:cubicBezTo>
                    <a:pt x="39" y="49"/>
                    <a:pt x="39" y="49"/>
                    <a:pt x="39" y="49"/>
                  </a:cubicBezTo>
                  <a:cubicBezTo>
                    <a:pt x="37" y="47"/>
                    <a:pt x="35" y="48"/>
                    <a:pt x="33" y="49"/>
                  </a:cubicBezTo>
                  <a:cubicBezTo>
                    <a:pt x="33" y="49"/>
                    <a:pt x="32" y="49"/>
                    <a:pt x="31" y="49"/>
                  </a:cubicBezTo>
                  <a:cubicBezTo>
                    <a:pt x="32" y="48"/>
                    <a:pt x="33" y="48"/>
                    <a:pt x="33" y="47"/>
                  </a:cubicBezTo>
                  <a:cubicBezTo>
                    <a:pt x="33" y="42"/>
                    <a:pt x="23" y="50"/>
                    <a:pt x="23" y="5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pSp>
        <p:nvGrpSpPr>
          <p:cNvPr id="7" name="组合 6"/>
          <p:cNvGrpSpPr/>
          <p:nvPr/>
        </p:nvGrpSpPr>
        <p:grpSpPr bwMode="auto">
          <a:xfrm>
            <a:off x="4672330" y="4330700"/>
            <a:ext cx="742950" cy="742950"/>
            <a:chOff x="5504937" y="4310063"/>
            <a:chExt cx="742950" cy="742950"/>
          </a:xfrm>
        </p:grpSpPr>
        <p:sp>
          <p:nvSpPr>
            <p:cNvPr id="14350" name="椭圆 28"/>
            <p:cNvSpPr>
              <a:spLocks noChangeArrowheads="1"/>
            </p:cNvSpPr>
            <p:nvPr/>
          </p:nvSpPr>
          <p:spPr bwMode="auto">
            <a:xfrm>
              <a:off x="5504937" y="4310063"/>
              <a:ext cx="742950" cy="742950"/>
            </a:xfrm>
            <a:prstGeom prst="ellipse">
              <a:avLst/>
            </a:prstGeom>
            <a:solidFill>
              <a:srgbClr val="197519"/>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351" name="Freeform 21"/>
            <p:cNvSpPr>
              <a:spLocks noEditPoints="1" noChangeArrowheads="1"/>
            </p:cNvSpPr>
            <p:nvPr/>
          </p:nvSpPr>
          <p:spPr bwMode="auto">
            <a:xfrm>
              <a:off x="5626822" y="4538606"/>
              <a:ext cx="482670" cy="388892"/>
            </a:xfrm>
            <a:custGeom>
              <a:avLst/>
              <a:gdLst>
                <a:gd name="T0" fmla="*/ 212 w 228"/>
                <a:gd name="T1" fmla="*/ 150 h 202"/>
                <a:gd name="T2" fmla="*/ 142 w 228"/>
                <a:gd name="T3" fmla="*/ 150 h 202"/>
                <a:gd name="T4" fmla="*/ 0 w 228"/>
                <a:gd name="T5" fmla="*/ 0 h 202"/>
                <a:gd name="T6" fmla="*/ 173 w 228"/>
                <a:gd name="T7" fmla="*/ 95 h 202"/>
                <a:gd name="T8" fmla="*/ 166 w 228"/>
                <a:gd name="T9" fmla="*/ 103 h 202"/>
                <a:gd name="T10" fmla="*/ 156 w 228"/>
                <a:gd name="T11" fmla="*/ 107 h 202"/>
                <a:gd name="T12" fmla="*/ 154 w 228"/>
                <a:gd name="T13" fmla="*/ 117 h 202"/>
                <a:gd name="T14" fmla="*/ 148 w 228"/>
                <a:gd name="T15" fmla="*/ 126 h 202"/>
                <a:gd name="T16" fmla="*/ 153 w 228"/>
                <a:gd name="T17" fmla="*/ 135 h 202"/>
                <a:gd name="T18" fmla="*/ 153 w 228"/>
                <a:gd name="T19" fmla="*/ 146 h 202"/>
                <a:gd name="T20" fmla="*/ 163 w 228"/>
                <a:gd name="T21" fmla="*/ 150 h 202"/>
                <a:gd name="T22" fmla="*/ 169 w 228"/>
                <a:gd name="T23" fmla="*/ 159 h 202"/>
                <a:gd name="T24" fmla="*/ 180 w 228"/>
                <a:gd name="T25" fmla="*/ 157 h 202"/>
                <a:gd name="T26" fmla="*/ 190 w 228"/>
                <a:gd name="T27" fmla="*/ 160 h 202"/>
                <a:gd name="T28" fmla="*/ 197 w 228"/>
                <a:gd name="T29" fmla="*/ 153 h 202"/>
                <a:gd name="T30" fmla="*/ 207 w 228"/>
                <a:gd name="T31" fmla="*/ 149 h 202"/>
                <a:gd name="T32" fmla="*/ 209 w 228"/>
                <a:gd name="T33" fmla="*/ 139 h 202"/>
                <a:gd name="T34" fmla="*/ 215 w 228"/>
                <a:gd name="T35" fmla="*/ 130 h 202"/>
                <a:gd name="T36" fmla="*/ 210 w 228"/>
                <a:gd name="T37" fmla="*/ 121 h 202"/>
                <a:gd name="T38" fmla="*/ 210 w 228"/>
                <a:gd name="T39" fmla="*/ 110 h 202"/>
                <a:gd name="T40" fmla="*/ 200 w 228"/>
                <a:gd name="T41" fmla="*/ 105 h 202"/>
                <a:gd name="T42" fmla="*/ 194 w 228"/>
                <a:gd name="T43" fmla="*/ 97 h 202"/>
                <a:gd name="T44" fmla="*/ 183 w 228"/>
                <a:gd name="T45" fmla="*/ 99 h 202"/>
                <a:gd name="T46" fmla="*/ 143 w 228"/>
                <a:gd name="T47" fmla="*/ 192 h 202"/>
                <a:gd name="T48" fmla="*/ 171 w 228"/>
                <a:gd name="T49" fmla="*/ 187 h 202"/>
                <a:gd name="T50" fmla="*/ 175 w 228"/>
                <a:gd name="T51" fmla="*/ 161 h 202"/>
                <a:gd name="T52" fmla="*/ 163 w 228"/>
                <a:gd name="T53" fmla="*/ 162 h 202"/>
                <a:gd name="T54" fmla="*/ 157 w 228"/>
                <a:gd name="T55" fmla="*/ 152 h 202"/>
                <a:gd name="T56" fmla="*/ 146 w 228"/>
                <a:gd name="T57" fmla="*/ 183 h 202"/>
                <a:gd name="T58" fmla="*/ 204 w 228"/>
                <a:gd name="T59" fmla="*/ 152 h 202"/>
                <a:gd name="T60" fmla="*/ 199 w 228"/>
                <a:gd name="T61" fmla="*/ 162 h 202"/>
                <a:gd name="T62" fmla="*/ 188 w 228"/>
                <a:gd name="T63" fmla="*/ 163 h 202"/>
                <a:gd name="T64" fmla="*/ 209 w 228"/>
                <a:gd name="T65" fmla="*/ 188 h 202"/>
                <a:gd name="T66" fmla="*/ 157 w 228"/>
                <a:gd name="T67" fmla="*/ 128 h 202"/>
                <a:gd name="T68" fmla="*/ 199 w 228"/>
                <a:gd name="T69" fmla="*/ 110 h 202"/>
                <a:gd name="T70" fmla="*/ 158 w 228"/>
                <a:gd name="T71" fmla="*/ 128 h 202"/>
                <a:gd name="T72" fmla="*/ 198 w 228"/>
                <a:gd name="T73" fmla="*/ 111 h 202"/>
                <a:gd name="T74" fmla="*/ 145 w 228"/>
                <a:gd name="T75" fmla="*/ 135 h 202"/>
                <a:gd name="T76" fmla="*/ 149 w 228"/>
                <a:gd name="T77" fmla="*/ 124 h 202"/>
                <a:gd name="T78" fmla="*/ 148 w 228"/>
                <a:gd name="T79" fmla="*/ 112 h 202"/>
                <a:gd name="T80" fmla="*/ 158 w 228"/>
                <a:gd name="T81" fmla="*/ 106 h 202"/>
                <a:gd name="T82" fmla="*/ 164 w 228"/>
                <a:gd name="T83" fmla="*/ 95 h 202"/>
                <a:gd name="T84" fmla="*/ 175 w 228"/>
                <a:gd name="T85" fmla="*/ 96 h 202"/>
                <a:gd name="T86" fmla="*/ 186 w 228"/>
                <a:gd name="T87" fmla="*/ 91 h 202"/>
                <a:gd name="T88" fmla="*/ 195 w 228"/>
                <a:gd name="T89" fmla="*/ 98 h 202"/>
                <a:gd name="T90" fmla="*/ 207 w 228"/>
                <a:gd name="T91" fmla="*/ 101 h 202"/>
                <a:gd name="T92" fmla="*/ 34 w 228"/>
                <a:gd name="T93" fmla="*/ 126 h 202"/>
                <a:gd name="T94" fmla="*/ 90 w 228"/>
                <a:gd name="T95" fmla="*/ 126 h 202"/>
                <a:gd name="T96" fmla="*/ 45 w 228"/>
                <a:gd name="T97" fmla="*/ 55 h 202"/>
                <a:gd name="T98" fmla="*/ 45 w 228"/>
                <a:gd name="T99" fmla="*/ 44 h 202"/>
                <a:gd name="T100" fmla="*/ 45 w 228"/>
                <a:gd name="T101" fmla="*/ 64 h 202"/>
                <a:gd name="T102" fmla="*/ 45 w 228"/>
                <a:gd name="T103" fmla="*/ 84 h 202"/>
                <a:gd name="T104" fmla="*/ 45 w 228"/>
                <a:gd name="T105" fmla="*/ 7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8" h="202">
                  <a:moveTo>
                    <a:pt x="0" y="0"/>
                  </a:moveTo>
                  <a:cubicBezTo>
                    <a:pt x="228" y="0"/>
                    <a:pt x="228" y="0"/>
                    <a:pt x="228" y="0"/>
                  </a:cubicBezTo>
                  <a:cubicBezTo>
                    <a:pt x="228" y="160"/>
                    <a:pt x="228" y="160"/>
                    <a:pt x="228" y="160"/>
                  </a:cubicBezTo>
                  <a:cubicBezTo>
                    <a:pt x="215" y="160"/>
                    <a:pt x="215" y="160"/>
                    <a:pt x="215" y="160"/>
                  </a:cubicBezTo>
                  <a:cubicBezTo>
                    <a:pt x="212" y="150"/>
                    <a:pt x="212" y="150"/>
                    <a:pt x="212" y="150"/>
                  </a:cubicBezTo>
                  <a:cubicBezTo>
                    <a:pt x="219" y="150"/>
                    <a:pt x="219" y="150"/>
                    <a:pt x="219" y="150"/>
                  </a:cubicBezTo>
                  <a:cubicBezTo>
                    <a:pt x="219" y="11"/>
                    <a:pt x="219" y="11"/>
                    <a:pt x="219" y="11"/>
                  </a:cubicBezTo>
                  <a:cubicBezTo>
                    <a:pt x="11" y="11"/>
                    <a:pt x="11" y="11"/>
                    <a:pt x="11" y="11"/>
                  </a:cubicBezTo>
                  <a:cubicBezTo>
                    <a:pt x="11" y="150"/>
                    <a:pt x="11" y="150"/>
                    <a:pt x="11" y="150"/>
                  </a:cubicBezTo>
                  <a:cubicBezTo>
                    <a:pt x="142" y="150"/>
                    <a:pt x="142" y="150"/>
                    <a:pt x="142" y="150"/>
                  </a:cubicBezTo>
                  <a:cubicBezTo>
                    <a:pt x="156" y="150"/>
                    <a:pt x="156" y="150"/>
                    <a:pt x="156" y="150"/>
                  </a:cubicBezTo>
                  <a:cubicBezTo>
                    <a:pt x="152" y="160"/>
                    <a:pt x="152" y="160"/>
                    <a:pt x="152" y="160"/>
                  </a:cubicBezTo>
                  <a:cubicBezTo>
                    <a:pt x="142" y="160"/>
                    <a:pt x="142" y="160"/>
                    <a:pt x="142" y="160"/>
                  </a:cubicBezTo>
                  <a:cubicBezTo>
                    <a:pt x="0" y="160"/>
                    <a:pt x="0" y="160"/>
                    <a:pt x="0" y="160"/>
                  </a:cubicBezTo>
                  <a:cubicBezTo>
                    <a:pt x="0" y="0"/>
                    <a:pt x="0" y="0"/>
                    <a:pt x="0" y="0"/>
                  </a:cubicBezTo>
                  <a:close/>
                  <a:moveTo>
                    <a:pt x="181" y="94"/>
                  </a:moveTo>
                  <a:cubicBezTo>
                    <a:pt x="180" y="99"/>
                    <a:pt x="180" y="99"/>
                    <a:pt x="180" y="99"/>
                  </a:cubicBezTo>
                  <a:cubicBezTo>
                    <a:pt x="177" y="95"/>
                    <a:pt x="177" y="95"/>
                    <a:pt x="177" y="95"/>
                  </a:cubicBezTo>
                  <a:cubicBezTo>
                    <a:pt x="176" y="99"/>
                    <a:pt x="176" y="99"/>
                    <a:pt x="176" y="99"/>
                  </a:cubicBezTo>
                  <a:cubicBezTo>
                    <a:pt x="173" y="95"/>
                    <a:pt x="173" y="95"/>
                    <a:pt x="173" y="95"/>
                  </a:cubicBezTo>
                  <a:cubicBezTo>
                    <a:pt x="172" y="100"/>
                    <a:pt x="172" y="100"/>
                    <a:pt x="172" y="100"/>
                  </a:cubicBezTo>
                  <a:cubicBezTo>
                    <a:pt x="169" y="97"/>
                    <a:pt x="169" y="97"/>
                    <a:pt x="169" y="97"/>
                  </a:cubicBezTo>
                  <a:cubicBezTo>
                    <a:pt x="169" y="101"/>
                    <a:pt x="169" y="101"/>
                    <a:pt x="169" y="101"/>
                  </a:cubicBezTo>
                  <a:cubicBezTo>
                    <a:pt x="165" y="99"/>
                    <a:pt x="165" y="99"/>
                    <a:pt x="165" y="99"/>
                  </a:cubicBezTo>
                  <a:cubicBezTo>
                    <a:pt x="166" y="103"/>
                    <a:pt x="166" y="103"/>
                    <a:pt x="166" y="103"/>
                  </a:cubicBezTo>
                  <a:cubicBezTo>
                    <a:pt x="162" y="101"/>
                    <a:pt x="162" y="101"/>
                    <a:pt x="162" y="101"/>
                  </a:cubicBezTo>
                  <a:cubicBezTo>
                    <a:pt x="163" y="105"/>
                    <a:pt x="163" y="105"/>
                    <a:pt x="163" y="105"/>
                  </a:cubicBezTo>
                  <a:cubicBezTo>
                    <a:pt x="159" y="103"/>
                    <a:pt x="159" y="103"/>
                    <a:pt x="159" y="103"/>
                  </a:cubicBezTo>
                  <a:cubicBezTo>
                    <a:pt x="160" y="108"/>
                    <a:pt x="160" y="108"/>
                    <a:pt x="160" y="108"/>
                  </a:cubicBezTo>
                  <a:cubicBezTo>
                    <a:pt x="156" y="107"/>
                    <a:pt x="156" y="107"/>
                    <a:pt x="156" y="107"/>
                  </a:cubicBezTo>
                  <a:cubicBezTo>
                    <a:pt x="158" y="111"/>
                    <a:pt x="158" y="111"/>
                    <a:pt x="158" y="111"/>
                  </a:cubicBezTo>
                  <a:cubicBezTo>
                    <a:pt x="153" y="110"/>
                    <a:pt x="153" y="110"/>
                    <a:pt x="153" y="110"/>
                  </a:cubicBezTo>
                  <a:cubicBezTo>
                    <a:pt x="156" y="114"/>
                    <a:pt x="156" y="114"/>
                    <a:pt x="156" y="114"/>
                  </a:cubicBezTo>
                  <a:cubicBezTo>
                    <a:pt x="151" y="114"/>
                    <a:pt x="151" y="114"/>
                    <a:pt x="151" y="114"/>
                  </a:cubicBezTo>
                  <a:cubicBezTo>
                    <a:pt x="154" y="117"/>
                    <a:pt x="154" y="117"/>
                    <a:pt x="154" y="117"/>
                  </a:cubicBezTo>
                  <a:cubicBezTo>
                    <a:pt x="150" y="117"/>
                    <a:pt x="150" y="117"/>
                    <a:pt x="150" y="117"/>
                  </a:cubicBezTo>
                  <a:cubicBezTo>
                    <a:pt x="153" y="121"/>
                    <a:pt x="153" y="121"/>
                    <a:pt x="153" y="121"/>
                  </a:cubicBezTo>
                  <a:cubicBezTo>
                    <a:pt x="149" y="122"/>
                    <a:pt x="149" y="122"/>
                    <a:pt x="149" y="122"/>
                  </a:cubicBezTo>
                  <a:cubicBezTo>
                    <a:pt x="152" y="124"/>
                    <a:pt x="152" y="124"/>
                    <a:pt x="152" y="124"/>
                  </a:cubicBezTo>
                  <a:cubicBezTo>
                    <a:pt x="148" y="126"/>
                    <a:pt x="148" y="126"/>
                    <a:pt x="148" y="126"/>
                  </a:cubicBezTo>
                  <a:cubicBezTo>
                    <a:pt x="152" y="128"/>
                    <a:pt x="152" y="128"/>
                    <a:pt x="152" y="128"/>
                  </a:cubicBezTo>
                  <a:cubicBezTo>
                    <a:pt x="148" y="130"/>
                    <a:pt x="148" y="130"/>
                    <a:pt x="148" y="130"/>
                  </a:cubicBezTo>
                  <a:cubicBezTo>
                    <a:pt x="152" y="131"/>
                    <a:pt x="152" y="131"/>
                    <a:pt x="152" y="131"/>
                  </a:cubicBezTo>
                  <a:cubicBezTo>
                    <a:pt x="149" y="134"/>
                    <a:pt x="149" y="134"/>
                    <a:pt x="149" y="134"/>
                  </a:cubicBezTo>
                  <a:cubicBezTo>
                    <a:pt x="153" y="135"/>
                    <a:pt x="153" y="135"/>
                    <a:pt x="153" y="135"/>
                  </a:cubicBezTo>
                  <a:cubicBezTo>
                    <a:pt x="150" y="138"/>
                    <a:pt x="150" y="138"/>
                    <a:pt x="150" y="138"/>
                  </a:cubicBezTo>
                  <a:cubicBezTo>
                    <a:pt x="154" y="139"/>
                    <a:pt x="154" y="139"/>
                    <a:pt x="154" y="139"/>
                  </a:cubicBezTo>
                  <a:cubicBezTo>
                    <a:pt x="151" y="142"/>
                    <a:pt x="151" y="142"/>
                    <a:pt x="151" y="142"/>
                  </a:cubicBezTo>
                  <a:cubicBezTo>
                    <a:pt x="156" y="142"/>
                    <a:pt x="156" y="142"/>
                    <a:pt x="156" y="142"/>
                  </a:cubicBezTo>
                  <a:cubicBezTo>
                    <a:pt x="153" y="146"/>
                    <a:pt x="153" y="146"/>
                    <a:pt x="153" y="146"/>
                  </a:cubicBezTo>
                  <a:cubicBezTo>
                    <a:pt x="158" y="145"/>
                    <a:pt x="158" y="145"/>
                    <a:pt x="158" y="145"/>
                  </a:cubicBezTo>
                  <a:cubicBezTo>
                    <a:pt x="156" y="149"/>
                    <a:pt x="156" y="149"/>
                    <a:pt x="156" y="149"/>
                  </a:cubicBezTo>
                  <a:cubicBezTo>
                    <a:pt x="160" y="148"/>
                    <a:pt x="160" y="148"/>
                    <a:pt x="160" y="148"/>
                  </a:cubicBezTo>
                  <a:cubicBezTo>
                    <a:pt x="159" y="152"/>
                    <a:pt x="159" y="152"/>
                    <a:pt x="159" y="152"/>
                  </a:cubicBezTo>
                  <a:cubicBezTo>
                    <a:pt x="163" y="150"/>
                    <a:pt x="163" y="150"/>
                    <a:pt x="163" y="150"/>
                  </a:cubicBezTo>
                  <a:cubicBezTo>
                    <a:pt x="162" y="155"/>
                    <a:pt x="162" y="155"/>
                    <a:pt x="162" y="155"/>
                  </a:cubicBezTo>
                  <a:cubicBezTo>
                    <a:pt x="166" y="153"/>
                    <a:pt x="166" y="153"/>
                    <a:pt x="166" y="153"/>
                  </a:cubicBezTo>
                  <a:cubicBezTo>
                    <a:pt x="165" y="157"/>
                    <a:pt x="165" y="157"/>
                    <a:pt x="165" y="157"/>
                  </a:cubicBezTo>
                  <a:cubicBezTo>
                    <a:pt x="169" y="154"/>
                    <a:pt x="169" y="154"/>
                    <a:pt x="169" y="154"/>
                  </a:cubicBezTo>
                  <a:cubicBezTo>
                    <a:pt x="169" y="159"/>
                    <a:pt x="169" y="159"/>
                    <a:pt x="169" y="159"/>
                  </a:cubicBezTo>
                  <a:cubicBezTo>
                    <a:pt x="172" y="156"/>
                    <a:pt x="172" y="156"/>
                    <a:pt x="172" y="156"/>
                  </a:cubicBezTo>
                  <a:cubicBezTo>
                    <a:pt x="173" y="160"/>
                    <a:pt x="173" y="160"/>
                    <a:pt x="173" y="160"/>
                  </a:cubicBezTo>
                  <a:cubicBezTo>
                    <a:pt x="176" y="157"/>
                    <a:pt x="176" y="157"/>
                    <a:pt x="176" y="157"/>
                  </a:cubicBezTo>
                  <a:cubicBezTo>
                    <a:pt x="177" y="161"/>
                    <a:pt x="177" y="161"/>
                    <a:pt x="177" y="161"/>
                  </a:cubicBezTo>
                  <a:cubicBezTo>
                    <a:pt x="180" y="157"/>
                    <a:pt x="180" y="157"/>
                    <a:pt x="180" y="157"/>
                  </a:cubicBezTo>
                  <a:cubicBezTo>
                    <a:pt x="181" y="161"/>
                    <a:pt x="181" y="161"/>
                    <a:pt x="181" y="161"/>
                  </a:cubicBezTo>
                  <a:cubicBezTo>
                    <a:pt x="183" y="157"/>
                    <a:pt x="183" y="157"/>
                    <a:pt x="183" y="157"/>
                  </a:cubicBezTo>
                  <a:cubicBezTo>
                    <a:pt x="186" y="161"/>
                    <a:pt x="186" y="161"/>
                    <a:pt x="186" y="161"/>
                  </a:cubicBezTo>
                  <a:cubicBezTo>
                    <a:pt x="187" y="157"/>
                    <a:pt x="187" y="157"/>
                    <a:pt x="187" y="157"/>
                  </a:cubicBezTo>
                  <a:cubicBezTo>
                    <a:pt x="190" y="160"/>
                    <a:pt x="190" y="160"/>
                    <a:pt x="190" y="160"/>
                  </a:cubicBezTo>
                  <a:cubicBezTo>
                    <a:pt x="190" y="156"/>
                    <a:pt x="190" y="156"/>
                    <a:pt x="190" y="156"/>
                  </a:cubicBezTo>
                  <a:cubicBezTo>
                    <a:pt x="194" y="159"/>
                    <a:pt x="194" y="159"/>
                    <a:pt x="194" y="159"/>
                  </a:cubicBezTo>
                  <a:cubicBezTo>
                    <a:pt x="194" y="154"/>
                    <a:pt x="194" y="154"/>
                    <a:pt x="194" y="154"/>
                  </a:cubicBezTo>
                  <a:cubicBezTo>
                    <a:pt x="197" y="157"/>
                    <a:pt x="197" y="157"/>
                    <a:pt x="197" y="157"/>
                  </a:cubicBezTo>
                  <a:cubicBezTo>
                    <a:pt x="197" y="153"/>
                    <a:pt x="197" y="153"/>
                    <a:pt x="197" y="153"/>
                  </a:cubicBezTo>
                  <a:cubicBezTo>
                    <a:pt x="201" y="155"/>
                    <a:pt x="201" y="155"/>
                    <a:pt x="201" y="155"/>
                  </a:cubicBezTo>
                  <a:cubicBezTo>
                    <a:pt x="200" y="150"/>
                    <a:pt x="200" y="150"/>
                    <a:pt x="200" y="150"/>
                  </a:cubicBezTo>
                  <a:cubicBezTo>
                    <a:pt x="204" y="152"/>
                    <a:pt x="204" y="152"/>
                    <a:pt x="204" y="152"/>
                  </a:cubicBezTo>
                  <a:cubicBezTo>
                    <a:pt x="203" y="148"/>
                    <a:pt x="203" y="148"/>
                    <a:pt x="203" y="148"/>
                  </a:cubicBezTo>
                  <a:cubicBezTo>
                    <a:pt x="207" y="149"/>
                    <a:pt x="207" y="149"/>
                    <a:pt x="207" y="149"/>
                  </a:cubicBezTo>
                  <a:cubicBezTo>
                    <a:pt x="205" y="145"/>
                    <a:pt x="205" y="145"/>
                    <a:pt x="205" y="145"/>
                  </a:cubicBezTo>
                  <a:cubicBezTo>
                    <a:pt x="210" y="146"/>
                    <a:pt x="210" y="146"/>
                    <a:pt x="210" y="146"/>
                  </a:cubicBezTo>
                  <a:cubicBezTo>
                    <a:pt x="207" y="142"/>
                    <a:pt x="207" y="142"/>
                    <a:pt x="207" y="142"/>
                  </a:cubicBezTo>
                  <a:cubicBezTo>
                    <a:pt x="212" y="142"/>
                    <a:pt x="212" y="142"/>
                    <a:pt x="212" y="142"/>
                  </a:cubicBezTo>
                  <a:cubicBezTo>
                    <a:pt x="209" y="139"/>
                    <a:pt x="209" y="139"/>
                    <a:pt x="209" y="139"/>
                  </a:cubicBezTo>
                  <a:cubicBezTo>
                    <a:pt x="213" y="138"/>
                    <a:pt x="213" y="138"/>
                    <a:pt x="213" y="138"/>
                  </a:cubicBezTo>
                  <a:cubicBezTo>
                    <a:pt x="210" y="135"/>
                    <a:pt x="210" y="135"/>
                    <a:pt x="210" y="135"/>
                  </a:cubicBezTo>
                  <a:cubicBezTo>
                    <a:pt x="214" y="134"/>
                    <a:pt x="214" y="134"/>
                    <a:pt x="214" y="134"/>
                  </a:cubicBezTo>
                  <a:cubicBezTo>
                    <a:pt x="211" y="131"/>
                    <a:pt x="211" y="131"/>
                    <a:pt x="211" y="131"/>
                  </a:cubicBezTo>
                  <a:cubicBezTo>
                    <a:pt x="215" y="130"/>
                    <a:pt x="215" y="130"/>
                    <a:pt x="215" y="130"/>
                  </a:cubicBezTo>
                  <a:cubicBezTo>
                    <a:pt x="211" y="128"/>
                    <a:pt x="211" y="128"/>
                    <a:pt x="211" y="128"/>
                  </a:cubicBezTo>
                  <a:cubicBezTo>
                    <a:pt x="215" y="126"/>
                    <a:pt x="215" y="126"/>
                    <a:pt x="215" y="126"/>
                  </a:cubicBezTo>
                  <a:cubicBezTo>
                    <a:pt x="211" y="124"/>
                    <a:pt x="211" y="124"/>
                    <a:pt x="211" y="124"/>
                  </a:cubicBezTo>
                  <a:cubicBezTo>
                    <a:pt x="214" y="122"/>
                    <a:pt x="214" y="122"/>
                    <a:pt x="214" y="122"/>
                  </a:cubicBezTo>
                  <a:cubicBezTo>
                    <a:pt x="210" y="121"/>
                    <a:pt x="210" y="121"/>
                    <a:pt x="210" y="121"/>
                  </a:cubicBezTo>
                  <a:cubicBezTo>
                    <a:pt x="213" y="117"/>
                    <a:pt x="213" y="117"/>
                    <a:pt x="213" y="117"/>
                  </a:cubicBezTo>
                  <a:cubicBezTo>
                    <a:pt x="209" y="117"/>
                    <a:pt x="209" y="117"/>
                    <a:pt x="209" y="117"/>
                  </a:cubicBezTo>
                  <a:cubicBezTo>
                    <a:pt x="212" y="114"/>
                    <a:pt x="212" y="114"/>
                    <a:pt x="212" y="114"/>
                  </a:cubicBezTo>
                  <a:cubicBezTo>
                    <a:pt x="207" y="114"/>
                    <a:pt x="207" y="114"/>
                    <a:pt x="207" y="114"/>
                  </a:cubicBezTo>
                  <a:cubicBezTo>
                    <a:pt x="210" y="110"/>
                    <a:pt x="210" y="110"/>
                    <a:pt x="210" y="110"/>
                  </a:cubicBezTo>
                  <a:cubicBezTo>
                    <a:pt x="205" y="111"/>
                    <a:pt x="205" y="111"/>
                    <a:pt x="205" y="111"/>
                  </a:cubicBezTo>
                  <a:cubicBezTo>
                    <a:pt x="207" y="107"/>
                    <a:pt x="207" y="107"/>
                    <a:pt x="207" y="107"/>
                  </a:cubicBezTo>
                  <a:cubicBezTo>
                    <a:pt x="203" y="108"/>
                    <a:pt x="203" y="108"/>
                    <a:pt x="203" y="108"/>
                  </a:cubicBezTo>
                  <a:cubicBezTo>
                    <a:pt x="204" y="103"/>
                    <a:pt x="204" y="103"/>
                    <a:pt x="204" y="103"/>
                  </a:cubicBezTo>
                  <a:cubicBezTo>
                    <a:pt x="200" y="105"/>
                    <a:pt x="200" y="105"/>
                    <a:pt x="200" y="105"/>
                  </a:cubicBezTo>
                  <a:cubicBezTo>
                    <a:pt x="201" y="101"/>
                    <a:pt x="201" y="101"/>
                    <a:pt x="201" y="101"/>
                  </a:cubicBezTo>
                  <a:cubicBezTo>
                    <a:pt x="197" y="103"/>
                    <a:pt x="197" y="103"/>
                    <a:pt x="197" y="103"/>
                  </a:cubicBezTo>
                  <a:cubicBezTo>
                    <a:pt x="197" y="99"/>
                    <a:pt x="197" y="99"/>
                    <a:pt x="197" y="99"/>
                  </a:cubicBezTo>
                  <a:cubicBezTo>
                    <a:pt x="194" y="101"/>
                    <a:pt x="194" y="101"/>
                    <a:pt x="194" y="101"/>
                  </a:cubicBezTo>
                  <a:cubicBezTo>
                    <a:pt x="194" y="97"/>
                    <a:pt x="194" y="97"/>
                    <a:pt x="194" y="97"/>
                  </a:cubicBezTo>
                  <a:cubicBezTo>
                    <a:pt x="190" y="100"/>
                    <a:pt x="190" y="100"/>
                    <a:pt x="190" y="100"/>
                  </a:cubicBezTo>
                  <a:cubicBezTo>
                    <a:pt x="190" y="95"/>
                    <a:pt x="190" y="95"/>
                    <a:pt x="190" y="95"/>
                  </a:cubicBezTo>
                  <a:cubicBezTo>
                    <a:pt x="187" y="99"/>
                    <a:pt x="187" y="99"/>
                    <a:pt x="187" y="99"/>
                  </a:cubicBezTo>
                  <a:cubicBezTo>
                    <a:pt x="186" y="95"/>
                    <a:pt x="186" y="95"/>
                    <a:pt x="186" y="95"/>
                  </a:cubicBezTo>
                  <a:cubicBezTo>
                    <a:pt x="183" y="99"/>
                    <a:pt x="183" y="99"/>
                    <a:pt x="183" y="99"/>
                  </a:cubicBezTo>
                  <a:cubicBezTo>
                    <a:pt x="181" y="94"/>
                    <a:pt x="181" y="94"/>
                    <a:pt x="181" y="94"/>
                  </a:cubicBezTo>
                  <a:close/>
                  <a:moveTo>
                    <a:pt x="146" y="183"/>
                  </a:moveTo>
                  <a:cubicBezTo>
                    <a:pt x="145" y="183"/>
                    <a:pt x="145" y="184"/>
                    <a:pt x="145" y="184"/>
                  </a:cubicBezTo>
                  <a:cubicBezTo>
                    <a:pt x="145" y="184"/>
                    <a:pt x="145" y="184"/>
                    <a:pt x="145" y="184"/>
                  </a:cubicBezTo>
                  <a:cubicBezTo>
                    <a:pt x="143" y="192"/>
                    <a:pt x="143" y="192"/>
                    <a:pt x="143" y="192"/>
                  </a:cubicBezTo>
                  <a:cubicBezTo>
                    <a:pt x="158" y="190"/>
                    <a:pt x="158" y="190"/>
                    <a:pt x="158" y="190"/>
                  </a:cubicBezTo>
                  <a:cubicBezTo>
                    <a:pt x="166" y="202"/>
                    <a:pt x="166" y="202"/>
                    <a:pt x="166" y="202"/>
                  </a:cubicBezTo>
                  <a:cubicBezTo>
                    <a:pt x="171" y="188"/>
                    <a:pt x="171" y="188"/>
                    <a:pt x="171" y="188"/>
                  </a:cubicBezTo>
                  <a:cubicBezTo>
                    <a:pt x="171" y="188"/>
                    <a:pt x="171" y="188"/>
                    <a:pt x="171" y="188"/>
                  </a:cubicBezTo>
                  <a:cubicBezTo>
                    <a:pt x="171" y="187"/>
                    <a:pt x="171" y="187"/>
                    <a:pt x="171" y="187"/>
                  </a:cubicBezTo>
                  <a:cubicBezTo>
                    <a:pt x="171" y="187"/>
                    <a:pt x="171" y="187"/>
                    <a:pt x="171" y="187"/>
                  </a:cubicBezTo>
                  <a:cubicBezTo>
                    <a:pt x="179" y="163"/>
                    <a:pt x="179" y="163"/>
                    <a:pt x="179" y="163"/>
                  </a:cubicBezTo>
                  <a:cubicBezTo>
                    <a:pt x="179" y="162"/>
                    <a:pt x="179" y="162"/>
                    <a:pt x="179" y="162"/>
                  </a:cubicBezTo>
                  <a:cubicBezTo>
                    <a:pt x="176" y="166"/>
                    <a:pt x="176" y="166"/>
                    <a:pt x="176" y="166"/>
                  </a:cubicBezTo>
                  <a:cubicBezTo>
                    <a:pt x="175" y="161"/>
                    <a:pt x="175" y="161"/>
                    <a:pt x="175" y="161"/>
                  </a:cubicBezTo>
                  <a:cubicBezTo>
                    <a:pt x="172" y="165"/>
                    <a:pt x="172" y="165"/>
                    <a:pt x="172" y="165"/>
                  </a:cubicBezTo>
                  <a:cubicBezTo>
                    <a:pt x="171" y="160"/>
                    <a:pt x="171" y="160"/>
                    <a:pt x="171" y="160"/>
                  </a:cubicBezTo>
                  <a:cubicBezTo>
                    <a:pt x="167" y="164"/>
                    <a:pt x="167" y="164"/>
                    <a:pt x="167" y="164"/>
                  </a:cubicBezTo>
                  <a:cubicBezTo>
                    <a:pt x="167" y="159"/>
                    <a:pt x="167" y="159"/>
                    <a:pt x="167" y="159"/>
                  </a:cubicBezTo>
                  <a:cubicBezTo>
                    <a:pt x="163" y="162"/>
                    <a:pt x="163" y="162"/>
                    <a:pt x="163" y="162"/>
                  </a:cubicBezTo>
                  <a:cubicBezTo>
                    <a:pt x="163" y="157"/>
                    <a:pt x="163" y="157"/>
                    <a:pt x="163" y="157"/>
                  </a:cubicBezTo>
                  <a:cubicBezTo>
                    <a:pt x="159" y="159"/>
                    <a:pt x="159" y="159"/>
                    <a:pt x="159" y="159"/>
                  </a:cubicBezTo>
                  <a:cubicBezTo>
                    <a:pt x="160" y="154"/>
                    <a:pt x="160" y="154"/>
                    <a:pt x="160" y="154"/>
                  </a:cubicBezTo>
                  <a:cubicBezTo>
                    <a:pt x="155" y="156"/>
                    <a:pt x="155" y="156"/>
                    <a:pt x="155" y="156"/>
                  </a:cubicBezTo>
                  <a:cubicBezTo>
                    <a:pt x="157" y="152"/>
                    <a:pt x="157" y="152"/>
                    <a:pt x="157" y="152"/>
                  </a:cubicBezTo>
                  <a:cubicBezTo>
                    <a:pt x="157" y="152"/>
                    <a:pt x="157" y="152"/>
                    <a:pt x="157" y="152"/>
                  </a:cubicBezTo>
                  <a:cubicBezTo>
                    <a:pt x="148" y="177"/>
                    <a:pt x="148" y="177"/>
                    <a:pt x="148" y="177"/>
                  </a:cubicBezTo>
                  <a:cubicBezTo>
                    <a:pt x="148" y="177"/>
                    <a:pt x="148" y="177"/>
                    <a:pt x="148" y="178"/>
                  </a:cubicBezTo>
                  <a:cubicBezTo>
                    <a:pt x="148" y="178"/>
                    <a:pt x="148" y="178"/>
                    <a:pt x="148" y="178"/>
                  </a:cubicBezTo>
                  <a:cubicBezTo>
                    <a:pt x="146" y="183"/>
                    <a:pt x="146" y="183"/>
                    <a:pt x="146" y="183"/>
                  </a:cubicBezTo>
                  <a:cubicBezTo>
                    <a:pt x="146" y="183"/>
                    <a:pt x="146" y="183"/>
                    <a:pt x="146" y="183"/>
                  </a:cubicBezTo>
                  <a:close/>
                  <a:moveTo>
                    <a:pt x="210" y="149"/>
                  </a:moveTo>
                  <a:cubicBezTo>
                    <a:pt x="207" y="148"/>
                    <a:pt x="207" y="148"/>
                    <a:pt x="207" y="148"/>
                  </a:cubicBezTo>
                  <a:cubicBezTo>
                    <a:pt x="209" y="153"/>
                    <a:pt x="209" y="153"/>
                    <a:pt x="209" y="153"/>
                  </a:cubicBezTo>
                  <a:cubicBezTo>
                    <a:pt x="204" y="152"/>
                    <a:pt x="204" y="152"/>
                    <a:pt x="204" y="152"/>
                  </a:cubicBezTo>
                  <a:cubicBezTo>
                    <a:pt x="206" y="156"/>
                    <a:pt x="206" y="156"/>
                    <a:pt x="206" y="156"/>
                  </a:cubicBezTo>
                  <a:cubicBezTo>
                    <a:pt x="201" y="154"/>
                    <a:pt x="201" y="154"/>
                    <a:pt x="201" y="154"/>
                  </a:cubicBezTo>
                  <a:cubicBezTo>
                    <a:pt x="202" y="159"/>
                    <a:pt x="202" y="159"/>
                    <a:pt x="202" y="159"/>
                  </a:cubicBezTo>
                  <a:cubicBezTo>
                    <a:pt x="198" y="157"/>
                    <a:pt x="198" y="157"/>
                    <a:pt x="198" y="157"/>
                  </a:cubicBezTo>
                  <a:cubicBezTo>
                    <a:pt x="199" y="162"/>
                    <a:pt x="199" y="162"/>
                    <a:pt x="199" y="162"/>
                  </a:cubicBezTo>
                  <a:cubicBezTo>
                    <a:pt x="195" y="159"/>
                    <a:pt x="195" y="159"/>
                    <a:pt x="195" y="159"/>
                  </a:cubicBezTo>
                  <a:cubicBezTo>
                    <a:pt x="194" y="164"/>
                    <a:pt x="194" y="164"/>
                    <a:pt x="194" y="164"/>
                  </a:cubicBezTo>
                  <a:cubicBezTo>
                    <a:pt x="191" y="160"/>
                    <a:pt x="191" y="160"/>
                    <a:pt x="191" y="160"/>
                  </a:cubicBezTo>
                  <a:cubicBezTo>
                    <a:pt x="190" y="165"/>
                    <a:pt x="190" y="165"/>
                    <a:pt x="190" y="165"/>
                  </a:cubicBezTo>
                  <a:cubicBezTo>
                    <a:pt x="188" y="163"/>
                    <a:pt x="188" y="163"/>
                    <a:pt x="188" y="163"/>
                  </a:cubicBezTo>
                  <a:cubicBezTo>
                    <a:pt x="195" y="183"/>
                    <a:pt x="195" y="183"/>
                    <a:pt x="195" y="183"/>
                  </a:cubicBezTo>
                  <a:cubicBezTo>
                    <a:pt x="195" y="183"/>
                    <a:pt x="195" y="183"/>
                    <a:pt x="195" y="183"/>
                  </a:cubicBezTo>
                  <a:cubicBezTo>
                    <a:pt x="196" y="184"/>
                    <a:pt x="196" y="184"/>
                    <a:pt x="196" y="184"/>
                  </a:cubicBezTo>
                  <a:cubicBezTo>
                    <a:pt x="201" y="200"/>
                    <a:pt x="201" y="200"/>
                    <a:pt x="201" y="200"/>
                  </a:cubicBezTo>
                  <a:cubicBezTo>
                    <a:pt x="209" y="188"/>
                    <a:pt x="209" y="188"/>
                    <a:pt x="209" y="188"/>
                  </a:cubicBezTo>
                  <a:cubicBezTo>
                    <a:pt x="224" y="190"/>
                    <a:pt x="224" y="190"/>
                    <a:pt x="224" y="190"/>
                  </a:cubicBezTo>
                  <a:cubicBezTo>
                    <a:pt x="210" y="149"/>
                    <a:pt x="210" y="149"/>
                    <a:pt x="210" y="149"/>
                  </a:cubicBezTo>
                  <a:close/>
                  <a:moveTo>
                    <a:pt x="181" y="103"/>
                  </a:moveTo>
                  <a:cubicBezTo>
                    <a:pt x="175" y="103"/>
                    <a:pt x="168" y="106"/>
                    <a:pt x="164" y="110"/>
                  </a:cubicBezTo>
                  <a:cubicBezTo>
                    <a:pt x="159" y="115"/>
                    <a:pt x="157" y="121"/>
                    <a:pt x="157" y="128"/>
                  </a:cubicBezTo>
                  <a:cubicBezTo>
                    <a:pt x="157" y="135"/>
                    <a:pt x="159" y="141"/>
                    <a:pt x="164" y="145"/>
                  </a:cubicBezTo>
                  <a:cubicBezTo>
                    <a:pt x="168" y="150"/>
                    <a:pt x="175" y="153"/>
                    <a:pt x="181" y="153"/>
                  </a:cubicBezTo>
                  <a:cubicBezTo>
                    <a:pt x="188" y="153"/>
                    <a:pt x="194" y="150"/>
                    <a:pt x="199" y="145"/>
                  </a:cubicBezTo>
                  <a:cubicBezTo>
                    <a:pt x="203" y="141"/>
                    <a:pt x="206" y="135"/>
                    <a:pt x="206" y="128"/>
                  </a:cubicBezTo>
                  <a:cubicBezTo>
                    <a:pt x="206" y="121"/>
                    <a:pt x="203" y="115"/>
                    <a:pt x="199" y="110"/>
                  </a:cubicBezTo>
                  <a:cubicBezTo>
                    <a:pt x="194" y="106"/>
                    <a:pt x="188" y="103"/>
                    <a:pt x="181" y="103"/>
                  </a:cubicBezTo>
                  <a:close/>
                  <a:moveTo>
                    <a:pt x="198" y="111"/>
                  </a:moveTo>
                  <a:cubicBezTo>
                    <a:pt x="194" y="107"/>
                    <a:pt x="188" y="104"/>
                    <a:pt x="181" y="104"/>
                  </a:cubicBezTo>
                  <a:cubicBezTo>
                    <a:pt x="175" y="104"/>
                    <a:pt x="169" y="107"/>
                    <a:pt x="165" y="111"/>
                  </a:cubicBezTo>
                  <a:cubicBezTo>
                    <a:pt x="161" y="115"/>
                    <a:pt x="158" y="121"/>
                    <a:pt x="158" y="128"/>
                  </a:cubicBezTo>
                  <a:cubicBezTo>
                    <a:pt x="158" y="134"/>
                    <a:pt x="161" y="140"/>
                    <a:pt x="165" y="144"/>
                  </a:cubicBezTo>
                  <a:cubicBezTo>
                    <a:pt x="169" y="149"/>
                    <a:pt x="175" y="151"/>
                    <a:pt x="181" y="151"/>
                  </a:cubicBezTo>
                  <a:cubicBezTo>
                    <a:pt x="188" y="151"/>
                    <a:pt x="194" y="149"/>
                    <a:pt x="198" y="144"/>
                  </a:cubicBezTo>
                  <a:cubicBezTo>
                    <a:pt x="202" y="140"/>
                    <a:pt x="205" y="134"/>
                    <a:pt x="205" y="128"/>
                  </a:cubicBezTo>
                  <a:cubicBezTo>
                    <a:pt x="205" y="121"/>
                    <a:pt x="202" y="115"/>
                    <a:pt x="198" y="111"/>
                  </a:cubicBezTo>
                  <a:close/>
                  <a:moveTo>
                    <a:pt x="23" y="23"/>
                  </a:moveTo>
                  <a:cubicBezTo>
                    <a:pt x="23" y="138"/>
                    <a:pt x="23" y="138"/>
                    <a:pt x="23" y="138"/>
                  </a:cubicBezTo>
                  <a:cubicBezTo>
                    <a:pt x="148" y="138"/>
                    <a:pt x="148" y="138"/>
                    <a:pt x="148" y="138"/>
                  </a:cubicBezTo>
                  <a:cubicBezTo>
                    <a:pt x="150" y="136"/>
                    <a:pt x="150" y="136"/>
                    <a:pt x="150" y="136"/>
                  </a:cubicBezTo>
                  <a:cubicBezTo>
                    <a:pt x="145" y="135"/>
                    <a:pt x="145" y="135"/>
                    <a:pt x="145" y="135"/>
                  </a:cubicBezTo>
                  <a:cubicBezTo>
                    <a:pt x="149" y="132"/>
                    <a:pt x="149" y="132"/>
                    <a:pt x="149" y="132"/>
                  </a:cubicBezTo>
                  <a:cubicBezTo>
                    <a:pt x="145" y="130"/>
                    <a:pt x="145" y="130"/>
                    <a:pt x="145" y="130"/>
                  </a:cubicBezTo>
                  <a:cubicBezTo>
                    <a:pt x="149" y="128"/>
                    <a:pt x="149" y="128"/>
                    <a:pt x="149" y="128"/>
                  </a:cubicBezTo>
                  <a:cubicBezTo>
                    <a:pt x="145" y="125"/>
                    <a:pt x="145" y="125"/>
                    <a:pt x="145" y="125"/>
                  </a:cubicBezTo>
                  <a:cubicBezTo>
                    <a:pt x="149" y="124"/>
                    <a:pt x="149" y="124"/>
                    <a:pt x="149" y="124"/>
                  </a:cubicBezTo>
                  <a:cubicBezTo>
                    <a:pt x="145" y="121"/>
                    <a:pt x="145" y="121"/>
                    <a:pt x="145" y="121"/>
                  </a:cubicBezTo>
                  <a:cubicBezTo>
                    <a:pt x="150" y="120"/>
                    <a:pt x="150" y="120"/>
                    <a:pt x="150" y="120"/>
                  </a:cubicBezTo>
                  <a:cubicBezTo>
                    <a:pt x="146" y="116"/>
                    <a:pt x="146" y="116"/>
                    <a:pt x="146" y="116"/>
                  </a:cubicBezTo>
                  <a:cubicBezTo>
                    <a:pt x="151" y="116"/>
                    <a:pt x="151" y="116"/>
                    <a:pt x="151" y="116"/>
                  </a:cubicBezTo>
                  <a:cubicBezTo>
                    <a:pt x="148" y="112"/>
                    <a:pt x="148" y="112"/>
                    <a:pt x="148" y="112"/>
                  </a:cubicBezTo>
                  <a:cubicBezTo>
                    <a:pt x="153" y="112"/>
                    <a:pt x="153" y="112"/>
                    <a:pt x="153" y="112"/>
                  </a:cubicBezTo>
                  <a:cubicBezTo>
                    <a:pt x="150" y="108"/>
                    <a:pt x="150" y="108"/>
                    <a:pt x="150" y="108"/>
                  </a:cubicBezTo>
                  <a:cubicBezTo>
                    <a:pt x="155" y="109"/>
                    <a:pt x="155" y="109"/>
                    <a:pt x="155" y="109"/>
                  </a:cubicBezTo>
                  <a:cubicBezTo>
                    <a:pt x="153" y="104"/>
                    <a:pt x="153" y="104"/>
                    <a:pt x="153" y="104"/>
                  </a:cubicBezTo>
                  <a:cubicBezTo>
                    <a:pt x="158" y="106"/>
                    <a:pt x="158" y="106"/>
                    <a:pt x="158" y="106"/>
                  </a:cubicBezTo>
                  <a:cubicBezTo>
                    <a:pt x="156" y="101"/>
                    <a:pt x="156" y="101"/>
                    <a:pt x="156" y="101"/>
                  </a:cubicBezTo>
                  <a:cubicBezTo>
                    <a:pt x="161" y="103"/>
                    <a:pt x="161" y="103"/>
                    <a:pt x="161" y="103"/>
                  </a:cubicBezTo>
                  <a:cubicBezTo>
                    <a:pt x="160" y="98"/>
                    <a:pt x="160" y="98"/>
                    <a:pt x="160" y="98"/>
                  </a:cubicBezTo>
                  <a:cubicBezTo>
                    <a:pt x="164" y="100"/>
                    <a:pt x="164" y="100"/>
                    <a:pt x="164" y="100"/>
                  </a:cubicBezTo>
                  <a:cubicBezTo>
                    <a:pt x="164" y="95"/>
                    <a:pt x="164" y="95"/>
                    <a:pt x="164" y="95"/>
                  </a:cubicBezTo>
                  <a:cubicBezTo>
                    <a:pt x="168" y="98"/>
                    <a:pt x="168" y="98"/>
                    <a:pt x="168" y="98"/>
                  </a:cubicBezTo>
                  <a:cubicBezTo>
                    <a:pt x="168" y="93"/>
                    <a:pt x="168" y="93"/>
                    <a:pt x="168" y="93"/>
                  </a:cubicBezTo>
                  <a:cubicBezTo>
                    <a:pt x="171" y="97"/>
                    <a:pt x="171" y="97"/>
                    <a:pt x="171" y="97"/>
                  </a:cubicBezTo>
                  <a:cubicBezTo>
                    <a:pt x="172" y="92"/>
                    <a:pt x="172" y="92"/>
                    <a:pt x="172" y="92"/>
                  </a:cubicBezTo>
                  <a:cubicBezTo>
                    <a:pt x="175" y="96"/>
                    <a:pt x="175" y="96"/>
                    <a:pt x="175" y="96"/>
                  </a:cubicBezTo>
                  <a:cubicBezTo>
                    <a:pt x="177" y="91"/>
                    <a:pt x="177" y="91"/>
                    <a:pt x="177" y="91"/>
                  </a:cubicBezTo>
                  <a:cubicBezTo>
                    <a:pt x="179" y="95"/>
                    <a:pt x="179" y="95"/>
                    <a:pt x="179" y="95"/>
                  </a:cubicBezTo>
                  <a:cubicBezTo>
                    <a:pt x="181" y="91"/>
                    <a:pt x="181" y="91"/>
                    <a:pt x="181" y="91"/>
                  </a:cubicBezTo>
                  <a:cubicBezTo>
                    <a:pt x="183" y="95"/>
                    <a:pt x="183" y="95"/>
                    <a:pt x="183" y="95"/>
                  </a:cubicBezTo>
                  <a:cubicBezTo>
                    <a:pt x="186" y="91"/>
                    <a:pt x="186" y="91"/>
                    <a:pt x="186" y="91"/>
                  </a:cubicBezTo>
                  <a:cubicBezTo>
                    <a:pt x="187" y="96"/>
                    <a:pt x="187" y="96"/>
                    <a:pt x="187" y="96"/>
                  </a:cubicBezTo>
                  <a:cubicBezTo>
                    <a:pt x="191" y="92"/>
                    <a:pt x="191" y="92"/>
                    <a:pt x="191" y="92"/>
                  </a:cubicBezTo>
                  <a:cubicBezTo>
                    <a:pt x="191" y="97"/>
                    <a:pt x="191" y="97"/>
                    <a:pt x="191" y="97"/>
                  </a:cubicBezTo>
                  <a:cubicBezTo>
                    <a:pt x="195" y="93"/>
                    <a:pt x="195" y="93"/>
                    <a:pt x="195" y="93"/>
                  </a:cubicBezTo>
                  <a:cubicBezTo>
                    <a:pt x="195" y="98"/>
                    <a:pt x="195" y="98"/>
                    <a:pt x="195" y="98"/>
                  </a:cubicBezTo>
                  <a:cubicBezTo>
                    <a:pt x="199" y="95"/>
                    <a:pt x="199" y="95"/>
                    <a:pt x="199" y="95"/>
                  </a:cubicBezTo>
                  <a:cubicBezTo>
                    <a:pt x="199" y="100"/>
                    <a:pt x="199" y="100"/>
                    <a:pt x="199" y="100"/>
                  </a:cubicBezTo>
                  <a:cubicBezTo>
                    <a:pt x="203" y="98"/>
                    <a:pt x="203" y="98"/>
                    <a:pt x="203" y="98"/>
                  </a:cubicBezTo>
                  <a:cubicBezTo>
                    <a:pt x="202" y="103"/>
                    <a:pt x="202" y="103"/>
                    <a:pt x="202" y="103"/>
                  </a:cubicBezTo>
                  <a:cubicBezTo>
                    <a:pt x="207" y="101"/>
                    <a:pt x="207" y="101"/>
                    <a:pt x="207" y="101"/>
                  </a:cubicBezTo>
                  <a:cubicBezTo>
                    <a:pt x="205" y="106"/>
                    <a:pt x="205" y="106"/>
                    <a:pt x="205" y="106"/>
                  </a:cubicBezTo>
                  <a:cubicBezTo>
                    <a:pt x="207" y="105"/>
                    <a:pt x="207" y="105"/>
                    <a:pt x="207" y="105"/>
                  </a:cubicBezTo>
                  <a:cubicBezTo>
                    <a:pt x="207" y="23"/>
                    <a:pt x="207" y="23"/>
                    <a:pt x="207" y="23"/>
                  </a:cubicBezTo>
                  <a:cubicBezTo>
                    <a:pt x="23" y="23"/>
                    <a:pt x="23" y="23"/>
                    <a:pt x="23" y="23"/>
                  </a:cubicBezTo>
                  <a:close/>
                  <a:moveTo>
                    <a:pt x="34" y="126"/>
                  </a:moveTo>
                  <a:cubicBezTo>
                    <a:pt x="34" y="130"/>
                    <a:pt x="34" y="130"/>
                    <a:pt x="34" y="130"/>
                  </a:cubicBezTo>
                  <a:cubicBezTo>
                    <a:pt x="69" y="130"/>
                    <a:pt x="69" y="130"/>
                    <a:pt x="69" y="130"/>
                  </a:cubicBezTo>
                  <a:cubicBezTo>
                    <a:pt x="69" y="126"/>
                    <a:pt x="69" y="126"/>
                    <a:pt x="69" y="126"/>
                  </a:cubicBezTo>
                  <a:cubicBezTo>
                    <a:pt x="34" y="126"/>
                    <a:pt x="34" y="126"/>
                    <a:pt x="34" y="126"/>
                  </a:cubicBezTo>
                  <a:close/>
                  <a:moveTo>
                    <a:pt x="90" y="126"/>
                  </a:moveTo>
                  <a:cubicBezTo>
                    <a:pt x="90" y="130"/>
                    <a:pt x="90" y="130"/>
                    <a:pt x="90" y="130"/>
                  </a:cubicBezTo>
                  <a:cubicBezTo>
                    <a:pt x="125" y="130"/>
                    <a:pt x="125" y="130"/>
                    <a:pt x="125" y="130"/>
                  </a:cubicBezTo>
                  <a:cubicBezTo>
                    <a:pt x="125" y="126"/>
                    <a:pt x="125" y="126"/>
                    <a:pt x="125" y="126"/>
                  </a:cubicBezTo>
                  <a:cubicBezTo>
                    <a:pt x="90" y="126"/>
                    <a:pt x="90" y="126"/>
                    <a:pt x="90" y="126"/>
                  </a:cubicBezTo>
                  <a:close/>
                  <a:moveTo>
                    <a:pt x="45" y="55"/>
                  </a:moveTo>
                  <a:cubicBezTo>
                    <a:pt x="45" y="58"/>
                    <a:pt x="45" y="58"/>
                    <a:pt x="45" y="58"/>
                  </a:cubicBezTo>
                  <a:cubicBezTo>
                    <a:pt x="185" y="58"/>
                    <a:pt x="185" y="58"/>
                    <a:pt x="185" y="58"/>
                  </a:cubicBezTo>
                  <a:cubicBezTo>
                    <a:pt x="185" y="55"/>
                    <a:pt x="185" y="55"/>
                    <a:pt x="185" y="55"/>
                  </a:cubicBezTo>
                  <a:cubicBezTo>
                    <a:pt x="45" y="55"/>
                    <a:pt x="45" y="55"/>
                    <a:pt x="45" y="55"/>
                  </a:cubicBezTo>
                  <a:close/>
                  <a:moveTo>
                    <a:pt x="45" y="44"/>
                  </a:moveTo>
                  <a:cubicBezTo>
                    <a:pt x="45" y="48"/>
                    <a:pt x="45" y="48"/>
                    <a:pt x="45" y="48"/>
                  </a:cubicBezTo>
                  <a:cubicBezTo>
                    <a:pt x="185" y="48"/>
                    <a:pt x="185" y="48"/>
                    <a:pt x="185" y="48"/>
                  </a:cubicBezTo>
                  <a:cubicBezTo>
                    <a:pt x="185" y="44"/>
                    <a:pt x="185" y="44"/>
                    <a:pt x="185" y="44"/>
                  </a:cubicBezTo>
                  <a:cubicBezTo>
                    <a:pt x="45" y="44"/>
                    <a:pt x="45" y="44"/>
                    <a:pt x="45" y="44"/>
                  </a:cubicBezTo>
                  <a:close/>
                  <a:moveTo>
                    <a:pt x="45" y="64"/>
                  </a:moveTo>
                  <a:cubicBezTo>
                    <a:pt x="45" y="68"/>
                    <a:pt x="45" y="68"/>
                    <a:pt x="45" y="68"/>
                  </a:cubicBezTo>
                  <a:cubicBezTo>
                    <a:pt x="185" y="68"/>
                    <a:pt x="185" y="68"/>
                    <a:pt x="185" y="68"/>
                  </a:cubicBezTo>
                  <a:cubicBezTo>
                    <a:pt x="185" y="64"/>
                    <a:pt x="185" y="64"/>
                    <a:pt x="185" y="64"/>
                  </a:cubicBezTo>
                  <a:cubicBezTo>
                    <a:pt x="45" y="64"/>
                    <a:pt x="45" y="64"/>
                    <a:pt x="45" y="64"/>
                  </a:cubicBezTo>
                  <a:close/>
                  <a:moveTo>
                    <a:pt x="45" y="84"/>
                  </a:moveTo>
                  <a:cubicBezTo>
                    <a:pt x="45" y="88"/>
                    <a:pt x="45" y="88"/>
                    <a:pt x="45" y="88"/>
                  </a:cubicBezTo>
                  <a:cubicBezTo>
                    <a:pt x="156" y="88"/>
                    <a:pt x="156" y="88"/>
                    <a:pt x="156" y="88"/>
                  </a:cubicBezTo>
                  <a:cubicBezTo>
                    <a:pt x="156" y="84"/>
                    <a:pt x="156" y="84"/>
                    <a:pt x="156" y="84"/>
                  </a:cubicBezTo>
                  <a:cubicBezTo>
                    <a:pt x="45" y="84"/>
                    <a:pt x="45" y="84"/>
                    <a:pt x="45" y="84"/>
                  </a:cubicBezTo>
                  <a:close/>
                  <a:moveTo>
                    <a:pt x="45" y="74"/>
                  </a:moveTo>
                  <a:cubicBezTo>
                    <a:pt x="45" y="78"/>
                    <a:pt x="45" y="78"/>
                    <a:pt x="45" y="78"/>
                  </a:cubicBezTo>
                  <a:cubicBezTo>
                    <a:pt x="156" y="78"/>
                    <a:pt x="156" y="78"/>
                    <a:pt x="156" y="78"/>
                  </a:cubicBezTo>
                  <a:cubicBezTo>
                    <a:pt x="156" y="74"/>
                    <a:pt x="156" y="74"/>
                    <a:pt x="156" y="74"/>
                  </a:cubicBezTo>
                  <a:lnTo>
                    <a:pt x="45" y="74"/>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pSp>
        <p:nvGrpSpPr>
          <p:cNvPr id="2" name="组合 1"/>
          <p:cNvGrpSpPr/>
          <p:nvPr/>
        </p:nvGrpSpPr>
        <p:grpSpPr bwMode="auto">
          <a:xfrm>
            <a:off x="4215130" y="1630045"/>
            <a:ext cx="742950" cy="742950"/>
            <a:chOff x="5047737" y="1609725"/>
            <a:chExt cx="742950" cy="742950"/>
          </a:xfrm>
        </p:grpSpPr>
        <p:sp>
          <p:nvSpPr>
            <p:cNvPr id="14353" name="椭圆 14"/>
            <p:cNvSpPr>
              <a:spLocks noChangeArrowheads="1"/>
            </p:cNvSpPr>
            <p:nvPr/>
          </p:nvSpPr>
          <p:spPr bwMode="auto">
            <a:xfrm>
              <a:off x="5047737" y="1609725"/>
              <a:ext cx="742950" cy="742950"/>
            </a:xfrm>
            <a:prstGeom prst="ellipse">
              <a:avLst/>
            </a:prstGeom>
            <a:solidFill>
              <a:srgbClr val="197519"/>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4354" name="Freeform 5"/>
            <p:cNvSpPr>
              <a:spLocks noEditPoints="1" noChangeArrowheads="1"/>
            </p:cNvSpPr>
            <p:nvPr/>
          </p:nvSpPr>
          <p:spPr bwMode="auto">
            <a:xfrm>
              <a:off x="5196927" y="1812154"/>
              <a:ext cx="482670" cy="388892"/>
            </a:xfrm>
            <a:custGeom>
              <a:avLst/>
              <a:gdLst>
                <a:gd name="T0" fmla="*/ 17 w 71"/>
                <a:gd name="T1" fmla="*/ 2 h 57"/>
                <a:gd name="T2" fmla="*/ 49 w 71"/>
                <a:gd name="T3" fmla="*/ 2 h 57"/>
                <a:gd name="T4" fmla="*/ 66 w 71"/>
                <a:gd name="T5" fmla="*/ 5 h 57"/>
                <a:gd name="T6" fmla="*/ 61 w 71"/>
                <a:gd name="T7" fmla="*/ 21 h 57"/>
                <a:gd name="T8" fmla="*/ 48 w 71"/>
                <a:gd name="T9" fmla="*/ 6 h 57"/>
                <a:gd name="T10" fmla="*/ 35 w 71"/>
                <a:gd name="T11" fmla="*/ 44 h 57"/>
                <a:gd name="T12" fmla="*/ 40 w 71"/>
                <a:gd name="T13" fmla="*/ 47 h 57"/>
                <a:gd name="T14" fmla="*/ 41 w 71"/>
                <a:gd name="T15" fmla="*/ 48 h 57"/>
                <a:gd name="T16" fmla="*/ 33 w 71"/>
                <a:gd name="T17" fmla="*/ 49 h 57"/>
                <a:gd name="T18" fmla="*/ 18 w 71"/>
                <a:gd name="T19" fmla="*/ 49 h 57"/>
                <a:gd name="T20" fmla="*/ 0 w 71"/>
                <a:gd name="T21" fmla="*/ 47 h 57"/>
                <a:gd name="T22" fmla="*/ 2 w 71"/>
                <a:gd name="T23" fmla="*/ 2 h 57"/>
                <a:gd name="T24" fmla="*/ 49 w 71"/>
                <a:gd name="T25" fmla="*/ 30 h 57"/>
                <a:gd name="T26" fmla="*/ 47 w 71"/>
                <a:gd name="T27" fmla="*/ 42 h 57"/>
                <a:gd name="T28" fmla="*/ 59 w 71"/>
                <a:gd name="T29" fmla="*/ 43 h 57"/>
                <a:gd name="T30" fmla="*/ 60 w 71"/>
                <a:gd name="T31" fmla="*/ 31 h 57"/>
                <a:gd name="T32" fmla="*/ 46 w 71"/>
                <a:gd name="T33" fmla="*/ 27 h 57"/>
                <a:gd name="T34" fmla="*/ 44 w 71"/>
                <a:gd name="T35" fmla="*/ 44 h 57"/>
                <a:gd name="T36" fmla="*/ 60 w 71"/>
                <a:gd name="T37" fmla="*/ 48 h 57"/>
                <a:gd name="T38" fmla="*/ 65 w 71"/>
                <a:gd name="T39" fmla="*/ 55 h 57"/>
                <a:gd name="T40" fmla="*/ 69 w 71"/>
                <a:gd name="T41" fmla="*/ 56 h 57"/>
                <a:gd name="T42" fmla="*/ 65 w 71"/>
                <a:gd name="T43" fmla="*/ 46 h 57"/>
                <a:gd name="T44" fmla="*/ 66 w 71"/>
                <a:gd name="T45" fmla="*/ 38 h 57"/>
                <a:gd name="T46" fmla="*/ 55 w 71"/>
                <a:gd name="T47" fmla="*/ 24 h 57"/>
                <a:gd name="T48" fmla="*/ 48 w 71"/>
                <a:gd name="T49" fmla="*/ 37 h 57"/>
                <a:gd name="T50" fmla="*/ 48 w 71"/>
                <a:gd name="T51" fmla="*/ 37 h 57"/>
                <a:gd name="T52" fmla="*/ 38 w 71"/>
                <a:gd name="T53" fmla="*/ 15 h 57"/>
                <a:gd name="T54" fmla="*/ 58 w 71"/>
                <a:gd name="T55" fmla="*/ 19 h 57"/>
                <a:gd name="T56" fmla="*/ 58 w 71"/>
                <a:gd name="T57" fmla="*/ 12 h 57"/>
                <a:gd name="T58" fmla="*/ 38 w 71"/>
                <a:gd name="T59" fmla="*/ 12 h 57"/>
                <a:gd name="T60" fmla="*/ 58 w 71"/>
                <a:gd name="T61" fmla="*/ 12 h 57"/>
                <a:gd name="T62" fmla="*/ 8 w 71"/>
                <a:gd name="T63" fmla="*/ 41 h 57"/>
                <a:gd name="T64" fmla="*/ 28 w 71"/>
                <a:gd name="T65" fmla="*/ 38 h 57"/>
                <a:gd name="T66" fmla="*/ 8 w 71"/>
                <a:gd name="T67" fmla="*/ 34 h 57"/>
                <a:gd name="T68" fmla="*/ 28 w 71"/>
                <a:gd name="T69" fmla="*/ 33 h 57"/>
                <a:gd name="T70" fmla="*/ 8 w 71"/>
                <a:gd name="T71" fmla="*/ 34 h 57"/>
                <a:gd name="T72" fmla="*/ 8 w 71"/>
                <a:gd name="T73" fmla="*/ 30 h 57"/>
                <a:gd name="T74" fmla="*/ 28 w 71"/>
                <a:gd name="T75" fmla="*/ 26 h 57"/>
                <a:gd name="T76" fmla="*/ 18 w 71"/>
                <a:gd name="T77" fmla="*/ 21 h 57"/>
                <a:gd name="T78" fmla="*/ 28 w 71"/>
                <a:gd name="T79" fmla="*/ 22 h 57"/>
                <a:gd name="T80" fmla="*/ 18 w 71"/>
                <a:gd name="T81" fmla="*/ 21 h 57"/>
                <a:gd name="T82" fmla="*/ 18 w 71"/>
                <a:gd name="T83" fmla="*/ 17 h 57"/>
                <a:gd name="T84" fmla="*/ 28 w 71"/>
                <a:gd name="T85" fmla="*/ 15 h 57"/>
                <a:gd name="T86" fmla="*/ 18 w 71"/>
                <a:gd name="T87" fmla="*/ 11 h 57"/>
                <a:gd name="T88" fmla="*/ 28 w 71"/>
                <a:gd name="T89" fmla="*/ 12 h 57"/>
                <a:gd name="T90" fmla="*/ 18 w 71"/>
                <a:gd name="T91" fmla="*/ 11 h 57"/>
                <a:gd name="T92" fmla="*/ 8 w 71"/>
                <a:gd name="T93" fmla="*/ 25 h 57"/>
                <a:gd name="T94" fmla="*/ 16 w 71"/>
                <a:gd name="T95" fmla="*/ 11 h 57"/>
                <a:gd name="T96" fmla="*/ 17 w 71"/>
                <a:gd name="T97" fmla="*/ 6 h 57"/>
                <a:gd name="T98" fmla="*/ 4 w 71"/>
                <a:gd name="T99" fmla="*/ 45 h 57"/>
                <a:gd name="T100" fmla="*/ 30 w 71"/>
                <a:gd name="T101" fmla="*/ 44 h 57"/>
                <a:gd name="T102" fmla="*/ 17 w 71"/>
                <a:gd name="T103"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1" h="57">
                  <a:moveTo>
                    <a:pt x="2" y="2"/>
                  </a:moveTo>
                  <a:cubicBezTo>
                    <a:pt x="7" y="3"/>
                    <a:pt x="12" y="2"/>
                    <a:pt x="17" y="2"/>
                  </a:cubicBezTo>
                  <a:cubicBezTo>
                    <a:pt x="23" y="1"/>
                    <a:pt x="29" y="0"/>
                    <a:pt x="33" y="2"/>
                  </a:cubicBezTo>
                  <a:cubicBezTo>
                    <a:pt x="37" y="0"/>
                    <a:pt x="43" y="1"/>
                    <a:pt x="49" y="2"/>
                  </a:cubicBezTo>
                  <a:cubicBezTo>
                    <a:pt x="54" y="2"/>
                    <a:pt x="59" y="3"/>
                    <a:pt x="63" y="2"/>
                  </a:cubicBezTo>
                  <a:cubicBezTo>
                    <a:pt x="66" y="5"/>
                    <a:pt x="66" y="5"/>
                    <a:pt x="66" y="5"/>
                  </a:cubicBezTo>
                  <a:cubicBezTo>
                    <a:pt x="66" y="24"/>
                    <a:pt x="66" y="24"/>
                    <a:pt x="66" y="24"/>
                  </a:cubicBezTo>
                  <a:cubicBezTo>
                    <a:pt x="64" y="23"/>
                    <a:pt x="63" y="22"/>
                    <a:pt x="61" y="21"/>
                  </a:cubicBezTo>
                  <a:cubicBezTo>
                    <a:pt x="61" y="7"/>
                    <a:pt x="61" y="7"/>
                    <a:pt x="61" y="7"/>
                  </a:cubicBezTo>
                  <a:cubicBezTo>
                    <a:pt x="57" y="7"/>
                    <a:pt x="52" y="7"/>
                    <a:pt x="48" y="6"/>
                  </a:cubicBezTo>
                  <a:cubicBezTo>
                    <a:pt x="43" y="6"/>
                    <a:pt x="38" y="5"/>
                    <a:pt x="35" y="6"/>
                  </a:cubicBezTo>
                  <a:cubicBezTo>
                    <a:pt x="35" y="44"/>
                    <a:pt x="35" y="44"/>
                    <a:pt x="35" y="44"/>
                  </a:cubicBezTo>
                  <a:cubicBezTo>
                    <a:pt x="36" y="44"/>
                    <a:pt x="37" y="44"/>
                    <a:pt x="38" y="44"/>
                  </a:cubicBezTo>
                  <a:cubicBezTo>
                    <a:pt x="39" y="45"/>
                    <a:pt x="40" y="46"/>
                    <a:pt x="40" y="47"/>
                  </a:cubicBezTo>
                  <a:cubicBezTo>
                    <a:pt x="41" y="48"/>
                    <a:pt x="41" y="48"/>
                    <a:pt x="42" y="48"/>
                  </a:cubicBezTo>
                  <a:cubicBezTo>
                    <a:pt x="41" y="48"/>
                    <a:pt x="41" y="48"/>
                    <a:pt x="41" y="48"/>
                  </a:cubicBezTo>
                  <a:cubicBezTo>
                    <a:pt x="38" y="48"/>
                    <a:pt x="35" y="48"/>
                    <a:pt x="34" y="49"/>
                  </a:cubicBezTo>
                  <a:cubicBezTo>
                    <a:pt x="33" y="49"/>
                    <a:pt x="33" y="49"/>
                    <a:pt x="33" y="49"/>
                  </a:cubicBezTo>
                  <a:cubicBezTo>
                    <a:pt x="31" y="49"/>
                    <a:pt x="31" y="49"/>
                    <a:pt x="31" y="49"/>
                  </a:cubicBezTo>
                  <a:cubicBezTo>
                    <a:pt x="29" y="48"/>
                    <a:pt x="24" y="48"/>
                    <a:pt x="18" y="49"/>
                  </a:cubicBezTo>
                  <a:cubicBezTo>
                    <a:pt x="13" y="50"/>
                    <a:pt x="7" y="50"/>
                    <a:pt x="2" y="50"/>
                  </a:cubicBezTo>
                  <a:cubicBezTo>
                    <a:pt x="0" y="47"/>
                    <a:pt x="0" y="47"/>
                    <a:pt x="0" y="47"/>
                  </a:cubicBezTo>
                  <a:cubicBezTo>
                    <a:pt x="0" y="5"/>
                    <a:pt x="0" y="5"/>
                    <a:pt x="0" y="5"/>
                  </a:cubicBezTo>
                  <a:cubicBezTo>
                    <a:pt x="2" y="2"/>
                    <a:pt x="2" y="2"/>
                    <a:pt x="2" y="2"/>
                  </a:cubicBezTo>
                  <a:close/>
                  <a:moveTo>
                    <a:pt x="55" y="28"/>
                  </a:moveTo>
                  <a:cubicBezTo>
                    <a:pt x="53" y="28"/>
                    <a:pt x="50" y="28"/>
                    <a:pt x="49" y="30"/>
                  </a:cubicBezTo>
                  <a:cubicBezTo>
                    <a:pt x="47" y="31"/>
                    <a:pt x="46" y="33"/>
                    <a:pt x="45" y="36"/>
                  </a:cubicBezTo>
                  <a:cubicBezTo>
                    <a:pt x="45" y="38"/>
                    <a:pt x="46" y="40"/>
                    <a:pt x="47" y="42"/>
                  </a:cubicBezTo>
                  <a:cubicBezTo>
                    <a:pt x="49" y="44"/>
                    <a:pt x="51" y="45"/>
                    <a:pt x="53" y="45"/>
                  </a:cubicBezTo>
                  <a:cubicBezTo>
                    <a:pt x="55" y="45"/>
                    <a:pt x="57" y="45"/>
                    <a:pt x="59" y="43"/>
                  </a:cubicBezTo>
                  <a:cubicBezTo>
                    <a:pt x="61" y="42"/>
                    <a:pt x="62" y="40"/>
                    <a:pt x="62" y="38"/>
                  </a:cubicBezTo>
                  <a:cubicBezTo>
                    <a:pt x="62" y="35"/>
                    <a:pt x="62" y="33"/>
                    <a:pt x="60" y="31"/>
                  </a:cubicBezTo>
                  <a:cubicBezTo>
                    <a:pt x="59" y="30"/>
                    <a:pt x="57" y="28"/>
                    <a:pt x="55" y="28"/>
                  </a:cubicBezTo>
                  <a:close/>
                  <a:moveTo>
                    <a:pt x="46" y="27"/>
                  </a:moveTo>
                  <a:cubicBezTo>
                    <a:pt x="43" y="29"/>
                    <a:pt x="41" y="32"/>
                    <a:pt x="41" y="35"/>
                  </a:cubicBezTo>
                  <a:cubicBezTo>
                    <a:pt x="41" y="38"/>
                    <a:pt x="42" y="42"/>
                    <a:pt x="44" y="44"/>
                  </a:cubicBezTo>
                  <a:cubicBezTo>
                    <a:pt x="46" y="47"/>
                    <a:pt x="49" y="49"/>
                    <a:pt x="52" y="49"/>
                  </a:cubicBezTo>
                  <a:cubicBezTo>
                    <a:pt x="55" y="50"/>
                    <a:pt x="57" y="49"/>
                    <a:pt x="60" y="48"/>
                  </a:cubicBezTo>
                  <a:cubicBezTo>
                    <a:pt x="60" y="49"/>
                    <a:pt x="60" y="49"/>
                    <a:pt x="61" y="50"/>
                  </a:cubicBezTo>
                  <a:cubicBezTo>
                    <a:pt x="65" y="55"/>
                    <a:pt x="65" y="55"/>
                    <a:pt x="65" y="55"/>
                  </a:cubicBezTo>
                  <a:cubicBezTo>
                    <a:pt x="66" y="57"/>
                    <a:pt x="68" y="57"/>
                    <a:pt x="69" y="56"/>
                  </a:cubicBezTo>
                  <a:cubicBezTo>
                    <a:pt x="69" y="56"/>
                    <a:pt x="69" y="56"/>
                    <a:pt x="69" y="56"/>
                  </a:cubicBezTo>
                  <a:cubicBezTo>
                    <a:pt x="70" y="55"/>
                    <a:pt x="71" y="53"/>
                    <a:pt x="70" y="52"/>
                  </a:cubicBezTo>
                  <a:cubicBezTo>
                    <a:pt x="65" y="46"/>
                    <a:pt x="65" y="46"/>
                    <a:pt x="65" y="46"/>
                  </a:cubicBezTo>
                  <a:cubicBezTo>
                    <a:pt x="65" y="46"/>
                    <a:pt x="64" y="45"/>
                    <a:pt x="63" y="45"/>
                  </a:cubicBezTo>
                  <a:cubicBezTo>
                    <a:pt x="65" y="43"/>
                    <a:pt x="66" y="41"/>
                    <a:pt x="66" y="38"/>
                  </a:cubicBezTo>
                  <a:cubicBezTo>
                    <a:pt x="67" y="35"/>
                    <a:pt x="66" y="32"/>
                    <a:pt x="64" y="29"/>
                  </a:cubicBezTo>
                  <a:cubicBezTo>
                    <a:pt x="62" y="26"/>
                    <a:pt x="59" y="24"/>
                    <a:pt x="55" y="24"/>
                  </a:cubicBezTo>
                  <a:cubicBezTo>
                    <a:pt x="52" y="24"/>
                    <a:pt x="49" y="24"/>
                    <a:pt x="46" y="27"/>
                  </a:cubicBezTo>
                  <a:close/>
                  <a:moveTo>
                    <a:pt x="48" y="37"/>
                  </a:moveTo>
                  <a:cubicBezTo>
                    <a:pt x="49" y="34"/>
                    <a:pt x="53" y="32"/>
                    <a:pt x="57" y="31"/>
                  </a:cubicBezTo>
                  <a:cubicBezTo>
                    <a:pt x="53" y="28"/>
                    <a:pt x="47" y="32"/>
                    <a:pt x="48" y="37"/>
                  </a:cubicBezTo>
                  <a:close/>
                  <a:moveTo>
                    <a:pt x="58" y="17"/>
                  </a:moveTo>
                  <a:cubicBezTo>
                    <a:pt x="54" y="17"/>
                    <a:pt x="42" y="15"/>
                    <a:pt x="38" y="15"/>
                  </a:cubicBezTo>
                  <a:cubicBezTo>
                    <a:pt x="38" y="16"/>
                    <a:pt x="38" y="17"/>
                    <a:pt x="38" y="17"/>
                  </a:cubicBezTo>
                  <a:cubicBezTo>
                    <a:pt x="42" y="17"/>
                    <a:pt x="55" y="19"/>
                    <a:pt x="58" y="19"/>
                  </a:cubicBezTo>
                  <a:cubicBezTo>
                    <a:pt x="58" y="19"/>
                    <a:pt x="58" y="18"/>
                    <a:pt x="58" y="17"/>
                  </a:cubicBezTo>
                  <a:close/>
                  <a:moveTo>
                    <a:pt x="58" y="12"/>
                  </a:moveTo>
                  <a:cubicBezTo>
                    <a:pt x="54" y="12"/>
                    <a:pt x="42" y="10"/>
                    <a:pt x="38" y="10"/>
                  </a:cubicBezTo>
                  <a:cubicBezTo>
                    <a:pt x="38" y="11"/>
                    <a:pt x="38" y="11"/>
                    <a:pt x="38" y="12"/>
                  </a:cubicBezTo>
                  <a:cubicBezTo>
                    <a:pt x="42" y="12"/>
                    <a:pt x="55" y="14"/>
                    <a:pt x="58" y="14"/>
                  </a:cubicBezTo>
                  <a:cubicBezTo>
                    <a:pt x="58" y="13"/>
                    <a:pt x="58" y="12"/>
                    <a:pt x="58" y="12"/>
                  </a:cubicBezTo>
                  <a:close/>
                  <a:moveTo>
                    <a:pt x="8" y="40"/>
                  </a:moveTo>
                  <a:cubicBezTo>
                    <a:pt x="8" y="40"/>
                    <a:pt x="8" y="41"/>
                    <a:pt x="8" y="41"/>
                  </a:cubicBezTo>
                  <a:cubicBezTo>
                    <a:pt x="12" y="42"/>
                    <a:pt x="24" y="39"/>
                    <a:pt x="28" y="39"/>
                  </a:cubicBezTo>
                  <a:cubicBezTo>
                    <a:pt x="28" y="39"/>
                    <a:pt x="28" y="38"/>
                    <a:pt x="28" y="38"/>
                  </a:cubicBezTo>
                  <a:cubicBezTo>
                    <a:pt x="25" y="37"/>
                    <a:pt x="13" y="40"/>
                    <a:pt x="8" y="40"/>
                  </a:cubicBezTo>
                  <a:close/>
                  <a:moveTo>
                    <a:pt x="8" y="34"/>
                  </a:moveTo>
                  <a:cubicBezTo>
                    <a:pt x="8" y="34"/>
                    <a:pt x="8" y="35"/>
                    <a:pt x="8" y="35"/>
                  </a:cubicBezTo>
                  <a:cubicBezTo>
                    <a:pt x="12" y="36"/>
                    <a:pt x="24" y="33"/>
                    <a:pt x="28" y="33"/>
                  </a:cubicBezTo>
                  <a:cubicBezTo>
                    <a:pt x="28" y="33"/>
                    <a:pt x="28" y="32"/>
                    <a:pt x="28" y="32"/>
                  </a:cubicBezTo>
                  <a:cubicBezTo>
                    <a:pt x="25" y="31"/>
                    <a:pt x="13" y="34"/>
                    <a:pt x="8" y="34"/>
                  </a:cubicBezTo>
                  <a:close/>
                  <a:moveTo>
                    <a:pt x="8" y="28"/>
                  </a:moveTo>
                  <a:cubicBezTo>
                    <a:pt x="8" y="29"/>
                    <a:pt x="8" y="29"/>
                    <a:pt x="8" y="30"/>
                  </a:cubicBezTo>
                  <a:cubicBezTo>
                    <a:pt x="12" y="30"/>
                    <a:pt x="24" y="28"/>
                    <a:pt x="28" y="28"/>
                  </a:cubicBezTo>
                  <a:cubicBezTo>
                    <a:pt x="28" y="27"/>
                    <a:pt x="28" y="27"/>
                    <a:pt x="28" y="26"/>
                  </a:cubicBezTo>
                  <a:cubicBezTo>
                    <a:pt x="25" y="26"/>
                    <a:pt x="13" y="28"/>
                    <a:pt x="8" y="28"/>
                  </a:cubicBezTo>
                  <a:close/>
                  <a:moveTo>
                    <a:pt x="18" y="21"/>
                  </a:moveTo>
                  <a:cubicBezTo>
                    <a:pt x="18" y="21"/>
                    <a:pt x="18" y="22"/>
                    <a:pt x="18" y="22"/>
                  </a:cubicBezTo>
                  <a:cubicBezTo>
                    <a:pt x="20" y="22"/>
                    <a:pt x="24" y="21"/>
                    <a:pt x="28" y="22"/>
                  </a:cubicBezTo>
                  <a:cubicBezTo>
                    <a:pt x="28" y="21"/>
                    <a:pt x="28" y="20"/>
                    <a:pt x="28" y="20"/>
                  </a:cubicBezTo>
                  <a:cubicBezTo>
                    <a:pt x="25" y="20"/>
                    <a:pt x="21" y="20"/>
                    <a:pt x="18" y="21"/>
                  </a:cubicBezTo>
                  <a:close/>
                  <a:moveTo>
                    <a:pt x="18" y="16"/>
                  </a:moveTo>
                  <a:cubicBezTo>
                    <a:pt x="18" y="16"/>
                    <a:pt x="18" y="17"/>
                    <a:pt x="18" y="17"/>
                  </a:cubicBezTo>
                  <a:cubicBezTo>
                    <a:pt x="20" y="17"/>
                    <a:pt x="24" y="16"/>
                    <a:pt x="28" y="16"/>
                  </a:cubicBezTo>
                  <a:cubicBezTo>
                    <a:pt x="28" y="16"/>
                    <a:pt x="28" y="15"/>
                    <a:pt x="28" y="15"/>
                  </a:cubicBezTo>
                  <a:cubicBezTo>
                    <a:pt x="25" y="14"/>
                    <a:pt x="21" y="15"/>
                    <a:pt x="18" y="16"/>
                  </a:cubicBezTo>
                  <a:close/>
                  <a:moveTo>
                    <a:pt x="18" y="11"/>
                  </a:moveTo>
                  <a:cubicBezTo>
                    <a:pt x="18" y="12"/>
                    <a:pt x="18" y="13"/>
                    <a:pt x="18" y="13"/>
                  </a:cubicBezTo>
                  <a:cubicBezTo>
                    <a:pt x="20" y="13"/>
                    <a:pt x="24" y="12"/>
                    <a:pt x="28" y="12"/>
                  </a:cubicBezTo>
                  <a:cubicBezTo>
                    <a:pt x="28" y="12"/>
                    <a:pt x="28" y="11"/>
                    <a:pt x="28" y="10"/>
                  </a:cubicBezTo>
                  <a:cubicBezTo>
                    <a:pt x="25" y="10"/>
                    <a:pt x="21" y="11"/>
                    <a:pt x="18" y="11"/>
                  </a:cubicBezTo>
                  <a:close/>
                  <a:moveTo>
                    <a:pt x="8" y="11"/>
                  </a:moveTo>
                  <a:cubicBezTo>
                    <a:pt x="8" y="25"/>
                    <a:pt x="8" y="25"/>
                    <a:pt x="8" y="25"/>
                  </a:cubicBezTo>
                  <a:cubicBezTo>
                    <a:pt x="16" y="24"/>
                    <a:pt x="16" y="24"/>
                    <a:pt x="16" y="24"/>
                  </a:cubicBezTo>
                  <a:cubicBezTo>
                    <a:pt x="16" y="11"/>
                    <a:pt x="16" y="11"/>
                    <a:pt x="16" y="11"/>
                  </a:cubicBezTo>
                  <a:cubicBezTo>
                    <a:pt x="8" y="11"/>
                    <a:pt x="8" y="11"/>
                    <a:pt x="8" y="11"/>
                  </a:cubicBezTo>
                  <a:close/>
                  <a:moveTo>
                    <a:pt x="17" y="6"/>
                  </a:moveTo>
                  <a:cubicBezTo>
                    <a:pt x="13" y="7"/>
                    <a:pt x="9" y="7"/>
                    <a:pt x="4" y="7"/>
                  </a:cubicBezTo>
                  <a:cubicBezTo>
                    <a:pt x="4" y="45"/>
                    <a:pt x="4" y="45"/>
                    <a:pt x="4" y="45"/>
                  </a:cubicBezTo>
                  <a:cubicBezTo>
                    <a:pt x="9" y="45"/>
                    <a:pt x="13" y="45"/>
                    <a:pt x="17" y="44"/>
                  </a:cubicBezTo>
                  <a:cubicBezTo>
                    <a:pt x="22" y="44"/>
                    <a:pt x="27" y="43"/>
                    <a:pt x="30" y="44"/>
                  </a:cubicBezTo>
                  <a:cubicBezTo>
                    <a:pt x="30" y="6"/>
                    <a:pt x="30" y="6"/>
                    <a:pt x="30" y="6"/>
                  </a:cubicBezTo>
                  <a:cubicBezTo>
                    <a:pt x="28" y="5"/>
                    <a:pt x="23" y="6"/>
                    <a:pt x="17" y="6"/>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30" name="文本框 29"/>
          <p:cNvSpPr txBox="1">
            <a:spLocks noChangeArrowheads="1"/>
          </p:cNvSpPr>
          <p:nvPr/>
        </p:nvSpPr>
        <p:spPr bwMode="auto">
          <a:xfrm>
            <a:off x="5839460" y="1352550"/>
            <a:ext cx="6081395" cy="540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342900" indent="-342900" eaLnBrk="1" latinLnBrk="0" hangingPunct="1">
              <a:spcBef>
                <a:spcPts val="600"/>
              </a:spcBef>
              <a:spcAft>
                <a:spcPts val="600"/>
              </a:spcAft>
              <a:buFont typeface="Wingdings" panose="05000000000000000000" pitchFamily="2" charset="2"/>
              <a:buChar char="§"/>
            </a:pPr>
            <a:r>
              <a:rPr lang="en-US" altLang="zh-CN" sz="2000" dirty="0">
                <a:solidFill>
                  <a:srgbClr val="404040"/>
                </a:solidFill>
                <a:latin typeface="Calibri" panose="020F0502020204030204" pitchFamily="34" charset="0"/>
                <a:cs typeface="Calibri" panose="020F0502020204030204" pitchFamily="34" charset="0"/>
              </a:rPr>
              <a:t>Audit findings: summary of non‐compliances, good practices, and evidence found</a:t>
            </a:r>
          </a:p>
          <a:p>
            <a:pPr marL="342900" indent="-342900" eaLnBrk="1" latinLnBrk="0" hangingPunct="1">
              <a:spcBef>
                <a:spcPts val="600"/>
              </a:spcBef>
              <a:spcAft>
                <a:spcPts val="600"/>
              </a:spcAft>
              <a:buFont typeface="Wingdings" panose="05000000000000000000" pitchFamily="2" charset="2"/>
              <a:buChar char="§"/>
            </a:pPr>
            <a:r>
              <a:rPr lang="en-US" altLang="zh-CN" sz="2000" dirty="0">
                <a:solidFill>
                  <a:srgbClr val="404040"/>
                </a:solidFill>
                <a:latin typeface="Calibri" panose="020F0502020204030204" pitchFamily="34" charset="0"/>
                <a:cs typeface="Calibri" panose="020F0502020204030204" pitchFamily="34" charset="0"/>
              </a:rPr>
              <a:t>Classification of non‐compliances</a:t>
            </a:r>
          </a:p>
          <a:p>
            <a:pPr marL="342900" indent="-342900" eaLnBrk="1" latinLnBrk="0" hangingPunct="1">
              <a:spcBef>
                <a:spcPts val="600"/>
              </a:spcBef>
              <a:spcAft>
                <a:spcPts val="600"/>
              </a:spcAft>
              <a:buFont typeface="Wingdings" panose="05000000000000000000" pitchFamily="2" charset="2"/>
              <a:buChar char="§"/>
            </a:pPr>
            <a:r>
              <a:rPr lang="en-US" altLang="zh-CN" sz="2000" dirty="0">
                <a:solidFill>
                  <a:srgbClr val="404040"/>
                </a:solidFill>
                <a:latin typeface="Calibri" panose="020F0502020204030204" pitchFamily="34" charset="0"/>
                <a:cs typeface="Calibri" panose="020F0502020204030204" pitchFamily="34" charset="0"/>
              </a:rPr>
              <a:t>Reference to the applicable code of conduct and/or law which has been contravened</a:t>
            </a:r>
          </a:p>
          <a:p>
            <a:pPr marL="342900" indent="-342900" eaLnBrk="1" latinLnBrk="0" hangingPunct="1">
              <a:spcBef>
                <a:spcPts val="600"/>
              </a:spcBef>
              <a:spcAft>
                <a:spcPts val="600"/>
              </a:spcAft>
              <a:buFont typeface="Wingdings" panose="05000000000000000000" pitchFamily="2" charset="2"/>
              <a:buChar char="§"/>
            </a:pPr>
            <a:r>
              <a:rPr lang="en-US" altLang="zh-CN" sz="2000" dirty="0">
                <a:solidFill>
                  <a:srgbClr val="404040"/>
                </a:solidFill>
                <a:latin typeface="Calibri" panose="020F0502020204030204" pitchFamily="34" charset="0"/>
                <a:cs typeface="Calibri" panose="020F0502020204030204" pitchFamily="34" charset="0"/>
              </a:rPr>
              <a:t>Recommended corrective actions: auditor’s suggestion on how the audit findings can be resolved</a:t>
            </a:r>
          </a:p>
          <a:p>
            <a:pPr marL="342900" indent="-342900" eaLnBrk="1" latinLnBrk="0" hangingPunct="1">
              <a:spcBef>
                <a:spcPts val="600"/>
              </a:spcBef>
              <a:spcAft>
                <a:spcPts val="600"/>
              </a:spcAft>
              <a:buFont typeface="Wingdings" panose="05000000000000000000" pitchFamily="2" charset="2"/>
              <a:buChar char="§"/>
            </a:pPr>
            <a:r>
              <a:rPr lang="en-US" altLang="zh-CN" sz="2000" dirty="0">
                <a:solidFill>
                  <a:srgbClr val="404040"/>
                </a:solidFill>
                <a:latin typeface="Calibri" panose="020F0502020204030204" pitchFamily="34" charset="0"/>
                <a:cs typeface="Calibri" panose="020F0502020204030204" pitchFamily="34" charset="0"/>
              </a:rPr>
              <a:t>Persons responsible for corrective action</a:t>
            </a:r>
          </a:p>
          <a:p>
            <a:pPr marL="342900" indent="-342900" eaLnBrk="1" latinLnBrk="0" hangingPunct="1">
              <a:spcBef>
                <a:spcPts val="600"/>
              </a:spcBef>
              <a:spcAft>
                <a:spcPts val="600"/>
              </a:spcAft>
              <a:buFont typeface="Wingdings" panose="05000000000000000000" pitchFamily="2" charset="2"/>
              <a:buChar char="§"/>
            </a:pPr>
            <a:r>
              <a:rPr lang="en-US" altLang="zh-CN" sz="2000" dirty="0">
                <a:solidFill>
                  <a:srgbClr val="404040"/>
                </a:solidFill>
                <a:latin typeface="Calibri" panose="020F0502020204030204" pitchFamily="34" charset="0"/>
                <a:cs typeface="Calibri" panose="020F0502020204030204" pitchFamily="34" charset="0"/>
              </a:rPr>
              <a:t>Verification method</a:t>
            </a:r>
          </a:p>
          <a:p>
            <a:pPr marL="342900" indent="-342900" eaLnBrk="1" latinLnBrk="0" hangingPunct="1">
              <a:spcBef>
                <a:spcPts val="600"/>
              </a:spcBef>
              <a:spcAft>
                <a:spcPts val="600"/>
              </a:spcAft>
              <a:buFont typeface="Wingdings" panose="05000000000000000000" pitchFamily="2" charset="2"/>
              <a:buChar char="§"/>
            </a:pPr>
            <a:r>
              <a:rPr lang="en-US" altLang="zh-CN" sz="2000" dirty="0">
                <a:solidFill>
                  <a:srgbClr val="404040"/>
                </a:solidFill>
                <a:latin typeface="Calibri" panose="020F0502020204030204" pitchFamily="34" charset="0"/>
                <a:cs typeface="Calibri" panose="020F0502020204030204" pitchFamily="34" charset="0"/>
              </a:rPr>
              <a:t>Timescale for completion: the amount of time required for the issue to be closed. The time allocated for corrective actions to be completed should be appropriate, realistic, and timely.</a:t>
            </a:r>
          </a:p>
          <a:p>
            <a:r>
              <a:rPr lang="en-US" altLang="zh-CN" sz="2000" dirty="0">
                <a:solidFill>
                  <a:srgbClr val="404040"/>
                </a:solidFill>
                <a:latin typeface="Calibri" panose="020F0502020204030204" pitchFamily="34" charset="0"/>
                <a:cs typeface="Calibri" panose="020F0502020204030204" pitchFamily="34" charset="0"/>
              </a:rPr>
              <a:t>        </a:t>
            </a:r>
          </a:p>
        </p:txBody>
      </p:sp>
      <p:sp>
        <p:nvSpPr>
          <p:cNvPr id="41" name="矩形 40"/>
          <p:cNvSpPr>
            <a:spLocks noChangeArrowheads="1"/>
          </p:cNvSpPr>
          <p:nvPr/>
        </p:nvSpPr>
        <p:spPr bwMode="auto">
          <a:xfrm>
            <a:off x="566420" y="360680"/>
            <a:ext cx="9961880" cy="58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altLang="zh-CN" sz="3200" b="1" dirty="0">
                <a:solidFill>
                  <a:srgbClr val="197519"/>
                </a:solidFill>
                <a:latin typeface="Calibri" panose="020F0502020204030204" pitchFamily="34" charset="0"/>
                <a:cs typeface="Calibri" panose="020F0502020204030204" pitchFamily="34" charset="0"/>
              </a:rPr>
              <a:t>Audit Output  - </a:t>
            </a:r>
            <a:r>
              <a:rPr lang="en-US" sz="3200" b="1" dirty="0">
                <a:solidFill>
                  <a:srgbClr val="197519"/>
                </a:solidFill>
                <a:latin typeface="Calibri" panose="020F0502020204030204" pitchFamily="34" charset="0"/>
                <a:cs typeface="Calibri" panose="020F0502020204030204" pitchFamily="34" charset="0"/>
              </a:rPr>
              <a:t>Corrective Action Plan Report (CAPR)</a:t>
            </a:r>
            <a:endParaRPr lang="en-US" altLang="en-US" sz="3200" b="1" dirty="0">
              <a:solidFill>
                <a:srgbClr val="197519"/>
              </a:solidFill>
              <a:latin typeface="Calibri" panose="020F0502020204030204" pitchFamily="34" charset="0"/>
              <a:cs typeface="Calibri" panose="020F0502020204030204" pitchFamily="34" charset="0"/>
            </a:endParaRPr>
          </a:p>
        </p:txBody>
      </p:sp>
      <p:sp>
        <p:nvSpPr>
          <p:cNvPr id="42" name="等腰三角形 41"/>
          <p:cNvSpPr>
            <a:spLocks noChangeArrowheads="1"/>
          </p:cNvSpPr>
          <p:nvPr/>
        </p:nvSpPr>
        <p:spPr bwMode="auto">
          <a:xfrm>
            <a:off x="196850" y="360363"/>
            <a:ext cx="563563" cy="485775"/>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3" name="等腰三角形 42"/>
          <p:cNvSpPr>
            <a:spLocks noChangeArrowheads="1"/>
          </p:cNvSpPr>
          <p:nvPr/>
        </p:nvSpPr>
        <p:spPr bwMode="auto">
          <a:xfrm>
            <a:off x="760413" y="696913"/>
            <a:ext cx="265112" cy="228600"/>
          </a:xfrm>
          <a:prstGeom prst="triangle">
            <a:avLst>
              <a:gd name="adj" fmla="val 50000"/>
            </a:avLst>
          </a:prstGeom>
          <a:solidFill>
            <a:srgbClr val="197519">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4" name="等腰三角形 43"/>
          <p:cNvSpPr>
            <a:spLocks noChangeArrowheads="1"/>
          </p:cNvSpPr>
          <p:nvPr/>
        </p:nvSpPr>
        <p:spPr bwMode="auto">
          <a:xfrm flipH="1">
            <a:off x="630238" y="469900"/>
            <a:ext cx="85725" cy="74613"/>
          </a:xfrm>
          <a:prstGeom prst="triangle">
            <a:avLst>
              <a:gd name="adj" fmla="val 50000"/>
            </a:avLst>
          </a:prstGeom>
          <a:solidFill>
            <a:srgbClr val="197519">
              <a:alpha val="46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5" name="等腰三角形 44"/>
          <p:cNvSpPr>
            <a:spLocks noChangeArrowheads="1"/>
          </p:cNvSpPr>
          <p:nvPr/>
        </p:nvSpPr>
        <p:spPr bwMode="auto">
          <a:xfrm>
            <a:off x="833438" y="490538"/>
            <a:ext cx="177800" cy="152400"/>
          </a:xfrm>
          <a:prstGeom prst="triangle">
            <a:avLst>
              <a:gd name="adj" fmla="val 50000"/>
            </a:avLst>
          </a:prstGeom>
          <a:solidFill>
            <a:srgbClr val="197519">
              <a:alpha val="71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Tree>
  </p:cSld>
  <p:clrMapOvr>
    <a:masterClrMapping/>
  </p:clrMapOvr>
  <p:transition spd="slow">
    <p:blinds dir="vert"/>
  </p:transition>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6" name="Text Placeholder 3"/>
          <p:cNvSpPr txBox="1">
            <a:spLocks noChangeArrowheads="1"/>
          </p:cNvSpPr>
          <p:nvPr/>
        </p:nvSpPr>
        <p:spPr bwMode="auto">
          <a:xfrm>
            <a:off x="1393825" y="2547938"/>
            <a:ext cx="1641475" cy="157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微软雅黑" panose="020B0503020204020204" pitchFamily="34" charset="-122"/>
                <a:ea typeface="微软雅黑" panose="020B0503020204020204" pitchFamily="34" charset="-122"/>
              </a:defRPr>
            </a:lvl1pPr>
            <a:lvl2pPr>
              <a:defRPr>
                <a:solidFill>
                  <a:schemeClr val="tx1"/>
                </a:solidFill>
                <a:latin typeface="微软雅黑" panose="020B0503020204020204" pitchFamily="34" charset="-122"/>
                <a:ea typeface="微软雅黑" panose="020B0503020204020204" pitchFamily="34" charset="-122"/>
              </a:defRPr>
            </a:lvl2pPr>
            <a:lvl3pPr>
              <a:defRPr>
                <a:solidFill>
                  <a:schemeClr val="tx1"/>
                </a:solidFill>
                <a:latin typeface="微软雅黑" panose="020B0503020204020204" pitchFamily="34" charset="-122"/>
                <a:ea typeface="微软雅黑" panose="020B0503020204020204" pitchFamily="34" charset="-122"/>
              </a:defRPr>
            </a:lvl3pPr>
            <a:lvl4pPr>
              <a:defRPr>
                <a:solidFill>
                  <a:schemeClr val="tx1"/>
                </a:solidFill>
                <a:latin typeface="微软雅黑" panose="020B0503020204020204" pitchFamily="34" charset="-122"/>
                <a:ea typeface="微软雅黑" panose="020B0503020204020204" pitchFamily="34" charset="-122"/>
              </a:defRPr>
            </a:lvl4pPr>
            <a:lvl5pPr>
              <a:defRPr>
                <a:solidFill>
                  <a:schemeClr val="tx1"/>
                </a:solidFill>
                <a:latin typeface="微软雅黑" panose="020B0503020204020204" pitchFamily="34" charset="-122"/>
                <a:ea typeface="微软雅黑" panose="020B0503020204020204" pitchFamily="34" charset="-122"/>
              </a:defRPr>
            </a:lvl5pPr>
            <a:lvl6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6pPr>
            <a:lvl7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7pPr>
            <a:lvl8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8pPr>
            <a:lvl9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9pPr>
          </a:lstStyle>
          <a:p>
            <a:pPr algn="ctr">
              <a:spcBef>
                <a:spcPct val="20000"/>
              </a:spcBef>
            </a:pPr>
            <a:r>
              <a:rPr lang="en-US" altLang="en-US" sz="11500" b="1" i="1" dirty="0">
                <a:solidFill>
                  <a:srgbClr val="197519"/>
                </a:solidFill>
              </a:rPr>
              <a:t>03</a:t>
            </a:r>
          </a:p>
        </p:txBody>
      </p:sp>
      <p:sp>
        <p:nvSpPr>
          <p:cNvPr id="17" name="文本框 16"/>
          <p:cNvSpPr txBox="1">
            <a:spLocks noChangeArrowheads="1"/>
          </p:cNvSpPr>
          <p:nvPr/>
        </p:nvSpPr>
        <p:spPr bwMode="auto">
          <a:xfrm>
            <a:off x="3115980" y="3502968"/>
            <a:ext cx="850125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zh-CN" sz="2400" b="1" dirty="0">
                <a:solidFill>
                  <a:srgbClr val="197519"/>
                </a:solidFill>
              </a:rPr>
              <a:t>Non-Conformance Findings and CAP</a:t>
            </a:r>
          </a:p>
        </p:txBody>
      </p:sp>
      <p:sp>
        <p:nvSpPr>
          <p:cNvPr id="18" name="文本框 17"/>
          <p:cNvSpPr txBox="1">
            <a:spLocks noChangeArrowheads="1"/>
          </p:cNvSpPr>
          <p:nvPr/>
        </p:nvSpPr>
        <p:spPr bwMode="auto">
          <a:xfrm>
            <a:off x="3649663" y="2773363"/>
            <a:ext cx="233031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zh-CN" sz="3200" b="1" i="1" dirty="0">
                <a:solidFill>
                  <a:srgbClr val="197519"/>
                </a:solidFill>
              </a:rPr>
              <a:t>Part Three</a:t>
            </a:r>
            <a:endParaRPr lang="zh-CN" altLang="en-US" sz="3200" b="1" i="1" dirty="0">
              <a:solidFill>
                <a:srgbClr val="197519"/>
              </a:solidFill>
              <a:ea typeface="Meiryo UI" pitchFamily="34" charset="-128"/>
              <a:cs typeface="Meiryo UI" pitchFamily="34" charset="-128"/>
            </a:endParaRPr>
          </a:p>
        </p:txBody>
      </p:sp>
      <p:sp>
        <p:nvSpPr>
          <p:cNvPr id="19" name="等腰三角形 18"/>
          <p:cNvSpPr>
            <a:spLocks noChangeArrowheads="1"/>
          </p:cNvSpPr>
          <p:nvPr/>
        </p:nvSpPr>
        <p:spPr bwMode="auto">
          <a:xfrm rot="9233090">
            <a:off x="9509125" y="2454275"/>
            <a:ext cx="266700" cy="230188"/>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20" name="等腰三角形 19"/>
          <p:cNvSpPr>
            <a:spLocks noChangeArrowheads="1"/>
          </p:cNvSpPr>
          <p:nvPr/>
        </p:nvSpPr>
        <p:spPr bwMode="auto">
          <a:xfrm rot="-6030424">
            <a:off x="9156700" y="3128963"/>
            <a:ext cx="396875" cy="342900"/>
          </a:xfrm>
          <a:prstGeom prst="triangle">
            <a:avLst>
              <a:gd name="adj" fmla="val 50000"/>
            </a:avLst>
          </a:prstGeom>
          <a:solidFill>
            <a:srgbClr val="309030"/>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21" name="等腰三角形 20"/>
          <p:cNvSpPr>
            <a:spLocks noChangeArrowheads="1"/>
          </p:cNvSpPr>
          <p:nvPr/>
        </p:nvSpPr>
        <p:spPr bwMode="auto">
          <a:xfrm rot="-228606">
            <a:off x="9024938" y="1804988"/>
            <a:ext cx="266700" cy="230187"/>
          </a:xfrm>
          <a:prstGeom prst="triangle">
            <a:avLst>
              <a:gd name="adj" fmla="val 50000"/>
            </a:avLst>
          </a:prstGeom>
          <a:solidFill>
            <a:srgbClr val="2B7E2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grpSp>
        <p:nvGrpSpPr>
          <p:cNvPr id="5" name="组合 4"/>
          <p:cNvGrpSpPr/>
          <p:nvPr/>
        </p:nvGrpSpPr>
        <p:grpSpPr bwMode="auto">
          <a:xfrm>
            <a:off x="9934575" y="3132138"/>
            <a:ext cx="1435100" cy="1309687"/>
            <a:chOff x="9933940" y="3132138"/>
            <a:chExt cx="1435100" cy="1309686"/>
          </a:xfrm>
        </p:grpSpPr>
        <p:sp>
          <p:nvSpPr>
            <p:cNvPr id="12296" name="等腰三角形 22"/>
            <p:cNvSpPr>
              <a:spLocks noChangeArrowheads="1"/>
            </p:cNvSpPr>
            <p:nvPr/>
          </p:nvSpPr>
          <p:spPr bwMode="auto">
            <a:xfrm rot="-8687839">
              <a:off x="9933940" y="3427412"/>
              <a:ext cx="1176338" cy="1014412"/>
            </a:xfrm>
            <a:prstGeom prst="triangle">
              <a:avLst>
                <a:gd name="adj" fmla="val 50000"/>
              </a:avLst>
            </a:prstGeom>
            <a:noFill/>
            <a:ln w="12700">
              <a:solidFill>
                <a:srgbClr val="197519"/>
              </a:solidFill>
              <a:miter lim="800000"/>
            </a:ln>
            <a:extLst>
              <a:ext uri="{909E8E84-426E-40DD-AFC4-6F175D3DCCD1}">
                <a14:hiddenFill xmlns:a14="http://schemas.microsoft.com/office/drawing/2010/main">
                  <a:solidFill>
                    <a:srgbClr val="FFFFFF"/>
                  </a:solidFill>
                </a14:hiddenFill>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grpSp>
          <p:nvGrpSpPr>
            <p:cNvPr id="12297" name="组合 2"/>
            <p:cNvGrpSpPr/>
            <p:nvPr/>
          </p:nvGrpSpPr>
          <p:grpSpPr bwMode="auto">
            <a:xfrm>
              <a:off x="10065703" y="3132138"/>
              <a:ext cx="1303337" cy="1279524"/>
              <a:chOff x="10065703" y="3132138"/>
              <a:chExt cx="1303337" cy="1279524"/>
            </a:xfrm>
          </p:grpSpPr>
          <p:sp>
            <p:nvSpPr>
              <p:cNvPr id="12298" name="等腰三角形 21"/>
              <p:cNvSpPr>
                <a:spLocks noChangeArrowheads="1"/>
              </p:cNvSpPr>
              <p:nvPr/>
            </p:nvSpPr>
            <p:spPr bwMode="auto">
              <a:xfrm rot="-8687839">
                <a:off x="10065703" y="3487738"/>
                <a:ext cx="944562" cy="815975"/>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grpSp>
            <p:nvGrpSpPr>
              <p:cNvPr id="12299" name="组合 1"/>
              <p:cNvGrpSpPr/>
              <p:nvPr/>
            </p:nvGrpSpPr>
            <p:grpSpPr bwMode="auto">
              <a:xfrm>
                <a:off x="10165715" y="3132138"/>
                <a:ext cx="1203325" cy="1279524"/>
                <a:chOff x="10165715" y="3132138"/>
                <a:chExt cx="1203325" cy="1279524"/>
              </a:xfrm>
            </p:grpSpPr>
            <p:sp>
              <p:nvSpPr>
                <p:cNvPr id="12300" name="椭圆 23"/>
                <p:cNvSpPr>
                  <a:spLocks noChangeArrowheads="1"/>
                </p:cNvSpPr>
                <p:nvPr/>
              </p:nvSpPr>
              <p:spPr bwMode="auto">
                <a:xfrm rot="9110320">
                  <a:off x="11254740" y="3792538"/>
                  <a:ext cx="114300" cy="115887"/>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sp>
              <p:nvSpPr>
                <p:cNvPr id="12301" name="椭圆 24"/>
                <p:cNvSpPr>
                  <a:spLocks noChangeArrowheads="1"/>
                </p:cNvSpPr>
                <p:nvPr/>
              </p:nvSpPr>
              <p:spPr bwMode="auto">
                <a:xfrm rot="9110320">
                  <a:off x="10165715" y="4295774"/>
                  <a:ext cx="115888" cy="115888"/>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sp>
              <p:nvSpPr>
                <p:cNvPr id="12302" name="椭圆 25"/>
                <p:cNvSpPr>
                  <a:spLocks noChangeArrowheads="1"/>
                </p:cNvSpPr>
                <p:nvPr/>
              </p:nvSpPr>
              <p:spPr bwMode="auto">
                <a:xfrm rot="9110320">
                  <a:off x="10283190" y="3132138"/>
                  <a:ext cx="114300" cy="115887"/>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grpSp>
        </p:grpSp>
      </p:grpSp>
      <p:sp>
        <p:nvSpPr>
          <p:cNvPr id="27" name="等腰三角形 26"/>
          <p:cNvSpPr>
            <a:spLocks noChangeArrowheads="1"/>
          </p:cNvSpPr>
          <p:nvPr/>
        </p:nvSpPr>
        <p:spPr bwMode="auto">
          <a:xfrm rot="-3389783">
            <a:off x="8616157" y="2162969"/>
            <a:ext cx="127000" cy="109537"/>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28" name="等腰三角形 27"/>
          <p:cNvSpPr>
            <a:spLocks noChangeArrowheads="1"/>
          </p:cNvSpPr>
          <p:nvPr/>
        </p:nvSpPr>
        <p:spPr bwMode="auto">
          <a:xfrm rot="8748521">
            <a:off x="8974138" y="2314575"/>
            <a:ext cx="128587" cy="109538"/>
          </a:xfrm>
          <a:prstGeom prst="triangle">
            <a:avLst>
              <a:gd name="adj" fmla="val 50000"/>
            </a:avLst>
          </a:prstGeom>
          <a:solidFill>
            <a:srgbClr val="559551"/>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cxnSp>
        <p:nvCxnSpPr>
          <p:cNvPr id="2063" name="Straight Connector 13"/>
          <p:cNvCxnSpPr>
            <a:cxnSpLocks noChangeShapeType="1"/>
          </p:cNvCxnSpPr>
          <p:nvPr/>
        </p:nvCxnSpPr>
        <p:spPr bwMode="auto">
          <a:xfrm flipH="1">
            <a:off x="1417638" y="4110038"/>
            <a:ext cx="7208837" cy="0"/>
          </a:xfrm>
          <a:prstGeom prst="line">
            <a:avLst/>
          </a:prstGeom>
          <a:noFill/>
          <a:ln w="19050" cap="sq">
            <a:solidFill>
              <a:srgbClr val="197519"/>
            </a:solidFill>
            <a:miter lim="800000"/>
            <a:headEnd type="oval" w="med" len="med"/>
          </a:ln>
          <a:extLst>
            <a:ext uri="{909E8E84-426E-40DD-AFC4-6F175D3DCCD1}">
              <a14:hiddenFill xmlns:a14="http://schemas.microsoft.com/office/drawing/2010/main">
                <a:noFill/>
              </a14:hiddenFill>
            </a:ext>
          </a:extLst>
        </p:spPr>
      </p:cxnSp>
    </p:spTree>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4" name="等腰三角形 33"/>
          <p:cNvSpPr>
            <a:spLocks noChangeArrowheads="1"/>
          </p:cNvSpPr>
          <p:nvPr/>
        </p:nvSpPr>
        <p:spPr bwMode="auto">
          <a:xfrm rot="9233090">
            <a:off x="11190288" y="6661150"/>
            <a:ext cx="120650" cy="104775"/>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5" name="等腰三角形 34"/>
          <p:cNvSpPr>
            <a:spLocks noChangeArrowheads="1"/>
          </p:cNvSpPr>
          <p:nvPr/>
        </p:nvSpPr>
        <p:spPr bwMode="auto">
          <a:xfrm rot="-6030424">
            <a:off x="10948194" y="6634956"/>
            <a:ext cx="180975" cy="157163"/>
          </a:xfrm>
          <a:prstGeom prst="triangle">
            <a:avLst>
              <a:gd name="adj" fmla="val 50000"/>
            </a:avLst>
          </a:prstGeom>
          <a:solidFill>
            <a:srgbClr val="309030"/>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9" name="等腰三角形 38"/>
          <p:cNvSpPr>
            <a:spLocks noChangeArrowheads="1"/>
          </p:cNvSpPr>
          <p:nvPr/>
        </p:nvSpPr>
        <p:spPr bwMode="auto">
          <a:xfrm rot="-228606">
            <a:off x="11403013" y="6643688"/>
            <a:ext cx="122237" cy="104775"/>
          </a:xfrm>
          <a:prstGeom prst="triangle">
            <a:avLst>
              <a:gd name="adj" fmla="val 50000"/>
            </a:avLst>
          </a:prstGeom>
          <a:solidFill>
            <a:srgbClr val="2B7E2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40" name="等腰三角形 39"/>
          <p:cNvSpPr>
            <a:spLocks noChangeArrowheads="1"/>
          </p:cNvSpPr>
          <p:nvPr/>
        </p:nvSpPr>
        <p:spPr bwMode="auto">
          <a:xfrm rot="-3389783">
            <a:off x="11143456" y="6571457"/>
            <a:ext cx="58737" cy="50800"/>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53" name="等腰三角形 52"/>
          <p:cNvSpPr>
            <a:spLocks noChangeArrowheads="1"/>
          </p:cNvSpPr>
          <p:nvPr/>
        </p:nvSpPr>
        <p:spPr bwMode="auto">
          <a:xfrm rot="8748521">
            <a:off x="11333163" y="6657975"/>
            <a:ext cx="58737" cy="49213"/>
          </a:xfrm>
          <a:prstGeom prst="triangle">
            <a:avLst>
              <a:gd name="adj" fmla="val 50000"/>
            </a:avLst>
          </a:prstGeom>
          <a:solidFill>
            <a:srgbClr val="559551"/>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48" name="等腰三角形 47"/>
          <p:cNvSpPr>
            <a:spLocks noChangeArrowheads="1"/>
          </p:cNvSpPr>
          <p:nvPr/>
        </p:nvSpPr>
        <p:spPr bwMode="auto">
          <a:xfrm>
            <a:off x="196850" y="360363"/>
            <a:ext cx="563563" cy="485775"/>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4" name="等腰三角形 53"/>
          <p:cNvSpPr>
            <a:spLocks noChangeArrowheads="1"/>
          </p:cNvSpPr>
          <p:nvPr/>
        </p:nvSpPr>
        <p:spPr bwMode="auto">
          <a:xfrm>
            <a:off x="760413" y="696913"/>
            <a:ext cx="265112" cy="228600"/>
          </a:xfrm>
          <a:prstGeom prst="triangle">
            <a:avLst>
              <a:gd name="adj" fmla="val 50000"/>
            </a:avLst>
          </a:prstGeom>
          <a:solidFill>
            <a:srgbClr val="197519">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6" name="等腰三角形 55"/>
          <p:cNvSpPr>
            <a:spLocks noChangeArrowheads="1"/>
          </p:cNvSpPr>
          <p:nvPr/>
        </p:nvSpPr>
        <p:spPr bwMode="auto">
          <a:xfrm flipH="1">
            <a:off x="630238" y="469900"/>
            <a:ext cx="85725" cy="74613"/>
          </a:xfrm>
          <a:prstGeom prst="triangle">
            <a:avLst>
              <a:gd name="adj" fmla="val 50000"/>
            </a:avLst>
          </a:prstGeom>
          <a:solidFill>
            <a:srgbClr val="197519">
              <a:alpha val="46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61" name="等腰三角形 60"/>
          <p:cNvSpPr>
            <a:spLocks noChangeArrowheads="1"/>
          </p:cNvSpPr>
          <p:nvPr/>
        </p:nvSpPr>
        <p:spPr bwMode="auto">
          <a:xfrm>
            <a:off x="833438" y="490538"/>
            <a:ext cx="177800" cy="152400"/>
          </a:xfrm>
          <a:prstGeom prst="triangle">
            <a:avLst>
              <a:gd name="adj" fmla="val 50000"/>
            </a:avLst>
          </a:prstGeom>
          <a:solidFill>
            <a:srgbClr val="197519">
              <a:alpha val="71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1" name="Rechteck 44"/>
          <p:cNvSpPr/>
          <p:nvPr/>
        </p:nvSpPr>
        <p:spPr>
          <a:xfrm>
            <a:off x="506095" y="1209789"/>
            <a:ext cx="11114405" cy="360000"/>
          </a:xfrm>
          <a:prstGeom prst="rect">
            <a:avLst/>
          </a:prstGeom>
          <a:solidFill>
            <a:srgbClr val="00B050"/>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2000" b="1" dirty="0">
                <a:solidFill>
                  <a:schemeClr val="bg1"/>
                </a:solidFill>
                <a:latin typeface="Daimler CS" pitchFamily="2" charset="0"/>
              </a:rPr>
              <a:t>Issue - based resolution</a:t>
            </a:r>
            <a:r>
              <a:rPr lang="en-US" altLang="de-DE" sz="2000" b="1" dirty="0">
                <a:solidFill>
                  <a:schemeClr val="bg1"/>
                </a:solidFill>
                <a:latin typeface="Daimler CS" pitchFamily="2" charset="0"/>
              </a:rPr>
              <a:t>:</a:t>
            </a:r>
            <a:r>
              <a:rPr lang="de-DE" sz="2000" b="1" dirty="0">
                <a:solidFill>
                  <a:schemeClr val="bg1"/>
                </a:solidFill>
                <a:latin typeface="Daimler CS" pitchFamily="2" charset="0"/>
              </a:rPr>
              <a:t> Case of Overtime</a:t>
            </a:r>
            <a:r>
              <a:rPr lang="en-US" altLang="de-DE" sz="2000" b="1" dirty="0">
                <a:solidFill>
                  <a:schemeClr val="bg1"/>
                </a:solidFill>
                <a:latin typeface="Daimler CS" pitchFamily="2" charset="0"/>
              </a:rPr>
              <a:t> Work</a:t>
            </a:r>
            <a:r>
              <a:rPr lang="de-DE" sz="2000" b="1" dirty="0">
                <a:solidFill>
                  <a:schemeClr val="bg1"/>
                </a:solidFill>
                <a:latin typeface="Daimler CS" pitchFamily="2" charset="0"/>
              </a:rPr>
              <a:t> </a:t>
            </a:r>
          </a:p>
        </p:txBody>
      </p:sp>
      <p:sp>
        <p:nvSpPr>
          <p:cNvPr id="23" name="文本框 16"/>
          <p:cNvSpPr>
            <a:spLocks noChangeArrowheads="1"/>
          </p:cNvSpPr>
          <p:nvPr/>
        </p:nvSpPr>
        <p:spPr bwMode="auto">
          <a:xfrm>
            <a:off x="805815" y="311785"/>
            <a:ext cx="7021830" cy="58356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a:spAutoFit/>
          </a:bodyPr>
          <a:lstStyle/>
          <a:p>
            <a:pPr lvl="0" algn="ctr">
              <a:buClrTx/>
              <a:buSzTx/>
              <a:buFontTx/>
            </a:pPr>
            <a:r>
              <a:rPr lang="en-US" altLang="zh-CN" sz="3200" b="1" dirty="0">
                <a:solidFill>
                  <a:srgbClr val="197519"/>
                </a:solidFill>
                <a:latin typeface="Calibri" panose="020F0502020204030204" pitchFamily="34" charset="0"/>
                <a:cs typeface="Calibri" panose="020F0502020204030204" pitchFamily="34" charset="0"/>
                <a:sym typeface="+mn-ea"/>
              </a:rPr>
              <a:t>Non-Conformance Findings and CAP</a:t>
            </a:r>
          </a:p>
        </p:txBody>
      </p:sp>
      <p:sp>
        <p:nvSpPr>
          <p:cNvPr id="24" name="Freeform 107"/>
          <p:cNvSpPr/>
          <p:nvPr/>
        </p:nvSpPr>
        <p:spPr bwMode="auto">
          <a:xfrm flipH="1">
            <a:off x="732980" y="1702809"/>
            <a:ext cx="4442524" cy="4821815"/>
          </a:xfrm>
          <a:prstGeom prst="roundRect">
            <a:avLst/>
          </a:prstGeom>
          <a:solidFill>
            <a:schemeClr val="bg2">
              <a:lumMod val="75000"/>
            </a:schemeClr>
          </a:solidFill>
          <a:ln>
            <a:noFill/>
          </a:ln>
          <a:effectLst>
            <a:outerShdw blurRad="50800" dist="38100" dir="2700000" algn="tl" rotWithShape="0">
              <a:prstClr val="black">
                <a:alpha val="40000"/>
              </a:prstClr>
            </a:outerShdw>
          </a:effectLst>
        </p:spPr>
        <p:txBody>
          <a:bodyPr/>
          <a:lstStyle/>
          <a:p>
            <a:pPr lvl="0"/>
            <a:r>
              <a:rPr lang="en-US" dirty="0">
                <a:latin typeface="Calibri" panose="020F0502020204030204" pitchFamily="34" charset="0"/>
                <a:cs typeface="Calibri" panose="020F0502020204030204" pitchFamily="34" charset="0"/>
              </a:rPr>
              <a:t>Factories across all sectors are typically plagued by non-conformance with regard to provisions of overtime. </a:t>
            </a:r>
          </a:p>
          <a:p>
            <a:pPr lvl="0"/>
            <a:endParaRPr lang="en-US" dirty="0">
              <a:latin typeface="Calibri" panose="020F0502020204030204" pitchFamily="34" charset="0"/>
              <a:cs typeface="Calibri" panose="020F0502020204030204" pitchFamily="34" charset="0"/>
            </a:endParaRPr>
          </a:p>
          <a:p>
            <a:pPr marL="285750" lvl="0" indent="-285750" eaLnBrk="1" latinLnBrk="0" hangingPunct="1">
              <a:spcBef>
                <a:spcPts val="600"/>
              </a:spcBef>
              <a:spcAft>
                <a:spcPts val="600"/>
              </a:spcAft>
              <a:buFont typeface="Arial" panose="020B0604020202020204" pitchFamily="34" charset="0"/>
              <a:buChar char="•"/>
            </a:pPr>
            <a:r>
              <a:rPr lang="en-US" dirty="0">
                <a:latin typeface="Calibri" panose="020F0502020204030204" pitchFamily="34" charset="0"/>
                <a:cs typeface="Calibri" panose="020F0502020204030204" pitchFamily="34" charset="0"/>
              </a:rPr>
              <a:t>Workers stay for longer hours to avail the benefits of overtime wages</a:t>
            </a:r>
          </a:p>
          <a:p>
            <a:pPr marL="285750" lvl="0" indent="-285750" eaLnBrk="1" latinLnBrk="0" hangingPunct="1">
              <a:spcBef>
                <a:spcPts val="600"/>
              </a:spcBef>
              <a:spcAft>
                <a:spcPts val="600"/>
              </a:spcAft>
              <a:buFont typeface="Arial" panose="020B0604020202020204" pitchFamily="34" charset="0"/>
              <a:buChar char="•"/>
            </a:pPr>
            <a:r>
              <a:rPr lang="en-US" dirty="0">
                <a:latin typeface="Calibri" panose="020F0502020204030204" pitchFamily="34" charset="0"/>
                <a:cs typeface="Calibri" panose="020F0502020204030204" pitchFamily="34" charset="0"/>
              </a:rPr>
              <a:t>Excess hours of overtime clocked and not accounting for overtime hours</a:t>
            </a:r>
          </a:p>
          <a:p>
            <a:pPr marL="285750" lvl="0" indent="-285750" eaLnBrk="1" latinLnBrk="0" hangingPunct="1">
              <a:spcBef>
                <a:spcPts val="600"/>
              </a:spcBef>
              <a:spcAft>
                <a:spcPts val="600"/>
              </a:spcAft>
              <a:buFont typeface="Arial" panose="020B0604020202020204" pitchFamily="34" charset="0"/>
              <a:buChar char="•"/>
            </a:pPr>
            <a:r>
              <a:rPr lang="en-US" dirty="0">
                <a:latin typeface="Calibri" panose="020F0502020204030204" pitchFamily="34" charset="0"/>
                <a:cs typeface="Calibri" panose="020F0502020204030204" pitchFamily="34" charset="0"/>
              </a:rPr>
              <a:t>Single payment made for overtime wages</a:t>
            </a:r>
          </a:p>
          <a:p>
            <a:pPr marL="285750" lvl="0" indent="-285750" eaLnBrk="1" latinLnBrk="0" hangingPunct="1">
              <a:spcBef>
                <a:spcPts val="600"/>
              </a:spcBef>
              <a:spcAft>
                <a:spcPts val="600"/>
              </a:spcAft>
              <a:buFont typeface="Arial" panose="020B0604020202020204" pitchFamily="34" charset="0"/>
              <a:buChar char="•"/>
            </a:pPr>
            <a:r>
              <a:rPr lang="en-US" dirty="0">
                <a:latin typeface="Calibri" panose="020F0502020204030204" pitchFamily="34" charset="0"/>
                <a:cs typeface="Calibri" panose="020F0502020204030204" pitchFamily="34" charset="0"/>
              </a:rPr>
              <a:t>Overtime wages paid as other allowance, creating an impression that there is no overtime</a:t>
            </a:r>
          </a:p>
        </p:txBody>
      </p:sp>
      <p:sp>
        <p:nvSpPr>
          <p:cNvPr id="25" name="Freeform 107"/>
          <p:cNvSpPr/>
          <p:nvPr/>
        </p:nvSpPr>
        <p:spPr bwMode="auto">
          <a:xfrm flipH="1">
            <a:off x="6455664" y="1727035"/>
            <a:ext cx="4489252" cy="4797589"/>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txBody>
          <a:bodyPr/>
          <a:lstStyle/>
          <a:p>
            <a:pPr marL="0" indent="0" algn="l">
              <a:spcBef>
                <a:spcPts val="600"/>
              </a:spcBef>
              <a:spcAft>
                <a:spcPts val="600"/>
              </a:spcAft>
              <a:buClrTx/>
              <a:buSzTx/>
              <a:buFont typeface="Wingdings" panose="05000000000000000000" pitchFamily="2" charset="2"/>
              <a:buNone/>
            </a:pPr>
            <a:r>
              <a:rPr lang="en-US" sz="1800" dirty="0">
                <a:latin typeface="Calibri" panose="020F0502020204030204" pitchFamily="34" charset="0"/>
                <a:cs typeface="Calibri" panose="020F0502020204030204" pitchFamily="34" charset="0"/>
              </a:rPr>
              <a:t>Possible Corrective Actions:</a:t>
            </a:r>
          </a:p>
          <a:p>
            <a:pPr marL="285750" indent="-285750" algn="l">
              <a:spcBef>
                <a:spcPts val="600"/>
              </a:spcBef>
              <a:spcAft>
                <a:spcPts val="600"/>
              </a:spcAft>
              <a:buClrTx/>
              <a:buSzTx/>
              <a:buFont typeface="Wingdings" panose="05000000000000000000" pitchFamily="2" charset="2"/>
              <a:buChar char="ü"/>
            </a:pPr>
            <a:r>
              <a:rPr lang="en-US" sz="1800" dirty="0">
                <a:latin typeface="Calibri" panose="020F0502020204030204" pitchFamily="34" charset="0"/>
                <a:cs typeface="Calibri" panose="020F0502020204030204" pitchFamily="34" charset="0"/>
              </a:rPr>
              <a:t>appointing in-house personnel to scrutinize these aspects. </a:t>
            </a:r>
            <a:endParaRPr lang="en-US" dirty="0">
              <a:latin typeface="Calibri" panose="020F0502020204030204" pitchFamily="34" charset="0"/>
              <a:cs typeface="Calibri" panose="020F0502020204030204" pitchFamily="34" charset="0"/>
            </a:endParaRPr>
          </a:p>
          <a:p>
            <a:pPr marL="285750" indent="-285750" eaLnBrk="1" latinLnBrk="0" hangingPunct="1">
              <a:spcBef>
                <a:spcPts val="600"/>
              </a:spcBef>
              <a:spcAft>
                <a:spcPts val="600"/>
              </a:spcAft>
              <a:buFont typeface="Wingdings" panose="05000000000000000000" pitchFamily="2" charset="2"/>
              <a:buChar char="ü"/>
            </a:pPr>
            <a:r>
              <a:rPr lang="en-US" dirty="0">
                <a:latin typeface="Calibri" panose="020F0502020204030204" pitchFamily="34" charset="0"/>
                <a:cs typeface="Calibri" panose="020F0502020204030204" pitchFamily="34" charset="0"/>
              </a:rPr>
              <a:t>Notifying employees in writing as to the wage &amp; hour obligations.</a:t>
            </a:r>
          </a:p>
          <a:p>
            <a:pPr marL="342900" indent="-342900" eaLnBrk="1" latinLnBrk="0" hangingPunct="1">
              <a:spcBef>
                <a:spcPts val="600"/>
              </a:spcBef>
              <a:spcAft>
                <a:spcPts val="600"/>
              </a:spcAft>
              <a:buFont typeface="Wingdings" panose="05000000000000000000" pitchFamily="2" charset="2"/>
              <a:buChar char="ü"/>
            </a:pPr>
            <a:r>
              <a:rPr lang="en-US" dirty="0">
                <a:latin typeface="Calibri" panose="020F0502020204030204" pitchFamily="34" charset="0"/>
                <a:cs typeface="Calibri" panose="020F0502020204030204" pitchFamily="34" charset="0"/>
              </a:rPr>
              <a:t>Providing employees a written complaint procedure</a:t>
            </a:r>
          </a:p>
          <a:p>
            <a:pPr marL="342900" indent="-342900" eaLnBrk="1" latinLnBrk="0" hangingPunct="1">
              <a:spcBef>
                <a:spcPts val="600"/>
              </a:spcBef>
              <a:spcAft>
                <a:spcPts val="600"/>
              </a:spcAft>
              <a:buFont typeface="Wingdings" panose="05000000000000000000" pitchFamily="2" charset="2"/>
              <a:buChar char="ü"/>
            </a:pPr>
            <a:r>
              <a:rPr lang="en-US" dirty="0">
                <a:latin typeface="Calibri" panose="020F0502020204030204" pitchFamily="34" charset="0"/>
                <a:cs typeface="Calibri" panose="020F0502020204030204" pitchFamily="34" charset="0"/>
              </a:rPr>
              <a:t>Appoint personnel to scrutinize wage &amp; hour issues</a:t>
            </a:r>
          </a:p>
          <a:p>
            <a:pPr marL="342900" indent="-342900" eaLnBrk="1" latinLnBrk="0" hangingPunct="1">
              <a:spcBef>
                <a:spcPts val="600"/>
              </a:spcBef>
              <a:spcAft>
                <a:spcPts val="600"/>
              </a:spcAft>
              <a:buFont typeface="Wingdings" panose="05000000000000000000" pitchFamily="2" charset="2"/>
              <a:buChar char="ü"/>
            </a:pPr>
            <a:r>
              <a:rPr lang="en-US" dirty="0">
                <a:latin typeface="Calibri" panose="020F0502020204030204" pitchFamily="34" charset="0"/>
                <a:cs typeface="Calibri" panose="020F0502020204030204" pitchFamily="34" charset="0"/>
              </a:rPr>
              <a:t>Increase employees’ hourly wage and offer leave benefit</a:t>
            </a:r>
          </a:p>
          <a:p>
            <a:pPr marL="342900" indent="-342900" eaLnBrk="1" latinLnBrk="0" hangingPunct="1">
              <a:spcBef>
                <a:spcPts val="600"/>
              </a:spcBef>
              <a:spcAft>
                <a:spcPts val="600"/>
              </a:spcAft>
              <a:buFont typeface="Wingdings" panose="05000000000000000000" pitchFamily="2" charset="2"/>
              <a:buChar char="ü"/>
            </a:pPr>
            <a:r>
              <a:rPr lang="en-US" dirty="0">
                <a:latin typeface="Calibri" panose="020F0502020204030204" pitchFamily="34" charset="0"/>
                <a:cs typeface="Calibri" panose="020F0502020204030204" pitchFamily="34" charset="0"/>
              </a:rPr>
              <a:t>Unconventional methods: geo-tagging, access disablement, etc.</a:t>
            </a:r>
          </a:p>
        </p:txBody>
      </p:sp>
    </p:spTree>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 name="等腰三角形 18"/>
          <p:cNvSpPr>
            <a:spLocks noChangeArrowheads="1"/>
          </p:cNvSpPr>
          <p:nvPr/>
        </p:nvSpPr>
        <p:spPr bwMode="auto">
          <a:xfrm rot="9233090">
            <a:off x="11380788" y="984250"/>
            <a:ext cx="266700" cy="230188"/>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27" name="等腰三角形 26"/>
          <p:cNvSpPr>
            <a:spLocks noChangeArrowheads="1"/>
          </p:cNvSpPr>
          <p:nvPr/>
        </p:nvSpPr>
        <p:spPr bwMode="auto">
          <a:xfrm rot="-6030424">
            <a:off x="11028362" y="1658938"/>
            <a:ext cx="396875" cy="342900"/>
          </a:xfrm>
          <a:prstGeom prst="triangle">
            <a:avLst>
              <a:gd name="adj" fmla="val 50000"/>
            </a:avLst>
          </a:prstGeom>
          <a:solidFill>
            <a:srgbClr val="309030"/>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28" name="等腰三角形 27"/>
          <p:cNvSpPr>
            <a:spLocks noChangeArrowheads="1"/>
          </p:cNvSpPr>
          <p:nvPr/>
        </p:nvSpPr>
        <p:spPr bwMode="auto">
          <a:xfrm rot="-228606">
            <a:off x="10896600" y="334963"/>
            <a:ext cx="266700" cy="230187"/>
          </a:xfrm>
          <a:prstGeom prst="triangle">
            <a:avLst>
              <a:gd name="adj" fmla="val 50000"/>
            </a:avLst>
          </a:prstGeom>
          <a:solidFill>
            <a:srgbClr val="2B7E2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4" name="等腰三角形 33"/>
          <p:cNvSpPr>
            <a:spLocks noChangeArrowheads="1"/>
          </p:cNvSpPr>
          <p:nvPr/>
        </p:nvSpPr>
        <p:spPr bwMode="auto">
          <a:xfrm rot="-3389783">
            <a:off x="10487819" y="692944"/>
            <a:ext cx="127000" cy="109538"/>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5" name="等腰三角形 34"/>
          <p:cNvSpPr>
            <a:spLocks noChangeArrowheads="1"/>
          </p:cNvSpPr>
          <p:nvPr/>
        </p:nvSpPr>
        <p:spPr bwMode="auto">
          <a:xfrm rot="8748521">
            <a:off x="10845800" y="844550"/>
            <a:ext cx="128588" cy="109538"/>
          </a:xfrm>
          <a:prstGeom prst="triangle">
            <a:avLst>
              <a:gd name="adj" fmla="val 50000"/>
            </a:avLst>
          </a:prstGeom>
          <a:solidFill>
            <a:srgbClr val="559551"/>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12" name="文本框 11"/>
          <p:cNvSpPr txBox="1">
            <a:spLocks noChangeArrowheads="1"/>
          </p:cNvSpPr>
          <p:nvPr/>
        </p:nvSpPr>
        <p:spPr bwMode="auto">
          <a:xfrm>
            <a:off x="6603416" y="1526968"/>
            <a:ext cx="45672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zh-CN" sz="2400" dirty="0">
                <a:solidFill>
                  <a:srgbClr val="197519"/>
                </a:solidFill>
                <a:latin typeface="Calibri" panose="020F0502020204030204" pitchFamily="34" charset="0"/>
                <a:cs typeface="Calibri" panose="020F0502020204030204" pitchFamily="34" charset="0"/>
              </a:rPr>
              <a:t>What is Sustainability Audit </a:t>
            </a:r>
            <a:endParaRPr lang="zh-CN" altLang="en-US" sz="2400" dirty="0">
              <a:solidFill>
                <a:srgbClr val="197519"/>
              </a:solidFill>
              <a:latin typeface="Calibri" panose="020F0502020204030204" pitchFamily="34" charset="0"/>
              <a:cs typeface="Calibri" panose="020F0502020204030204" pitchFamily="34" charset="0"/>
            </a:endParaRPr>
          </a:p>
        </p:txBody>
      </p:sp>
      <p:grpSp>
        <p:nvGrpSpPr>
          <p:cNvPr id="43" name="组合 42"/>
          <p:cNvGrpSpPr/>
          <p:nvPr/>
        </p:nvGrpSpPr>
        <p:grpSpPr bwMode="auto">
          <a:xfrm>
            <a:off x="5724525" y="1444625"/>
            <a:ext cx="855663" cy="781050"/>
            <a:chOff x="5338742" y="1329558"/>
            <a:chExt cx="855357" cy="780606"/>
          </a:xfrm>
        </p:grpSpPr>
        <p:grpSp>
          <p:nvGrpSpPr>
            <p:cNvPr id="5128" name="组合 7"/>
            <p:cNvGrpSpPr/>
            <p:nvPr/>
          </p:nvGrpSpPr>
          <p:grpSpPr bwMode="auto">
            <a:xfrm rot="789266">
              <a:off x="5338742" y="1329558"/>
              <a:ext cx="855357" cy="780606"/>
              <a:chOff x="13707721" y="2401221"/>
              <a:chExt cx="1435101" cy="1309686"/>
            </a:xfrm>
          </p:grpSpPr>
          <p:sp>
            <p:nvSpPr>
              <p:cNvPr id="5129" name="等腰三角形 29"/>
              <p:cNvSpPr>
                <a:spLocks noChangeArrowheads="1"/>
              </p:cNvSpPr>
              <p:nvPr/>
            </p:nvSpPr>
            <p:spPr bwMode="auto">
              <a:xfrm rot="-8687839">
                <a:off x="13707721" y="2696495"/>
                <a:ext cx="1176337" cy="1014412"/>
              </a:xfrm>
              <a:prstGeom prst="triangle">
                <a:avLst>
                  <a:gd name="adj" fmla="val 50000"/>
                </a:avLst>
              </a:prstGeom>
              <a:noFill/>
              <a:ln w="12700">
                <a:solidFill>
                  <a:srgbClr val="197519"/>
                </a:solidFill>
                <a:miter lim="800000"/>
              </a:ln>
              <a:extLst>
                <a:ext uri="{909E8E84-426E-40DD-AFC4-6F175D3DCCD1}">
                  <a14:hiddenFill xmlns:a14="http://schemas.microsoft.com/office/drawing/2010/main">
                    <a:solidFill>
                      <a:srgbClr val="FFFFFF"/>
                    </a:solidFill>
                  </a14:hiddenFill>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grpSp>
            <p:nvGrpSpPr>
              <p:cNvPr id="5130" name="组合 4"/>
              <p:cNvGrpSpPr/>
              <p:nvPr/>
            </p:nvGrpSpPr>
            <p:grpSpPr bwMode="auto">
              <a:xfrm>
                <a:off x="13839485" y="2401221"/>
                <a:ext cx="1303337" cy="1279525"/>
                <a:chOff x="13839374" y="2401220"/>
                <a:chExt cx="1303336" cy="1279536"/>
              </a:xfrm>
            </p:grpSpPr>
            <p:sp>
              <p:nvSpPr>
                <p:cNvPr id="5131" name="等腰三角形 28"/>
                <p:cNvSpPr>
                  <a:spLocks noChangeArrowheads="1"/>
                </p:cNvSpPr>
                <p:nvPr/>
              </p:nvSpPr>
              <p:spPr bwMode="auto">
                <a:xfrm rot="-8687839">
                  <a:off x="13839374" y="2756829"/>
                  <a:ext cx="944554" cy="815977"/>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5132" name="椭圆 30"/>
                <p:cNvSpPr>
                  <a:spLocks noChangeArrowheads="1"/>
                </p:cNvSpPr>
                <p:nvPr/>
              </p:nvSpPr>
              <p:spPr bwMode="auto">
                <a:xfrm rot="9110320">
                  <a:off x="15028410" y="3061629"/>
                  <a:ext cx="114300" cy="115888"/>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sp>
              <p:nvSpPr>
                <p:cNvPr id="5133" name="椭圆 31"/>
                <p:cNvSpPr>
                  <a:spLocks noChangeArrowheads="1"/>
                </p:cNvSpPr>
                <p:nvPr/>
              </p:nvSpPr>
              <p:spPr bwMode="auto">
                <a:xfrm rot="9110320">
                  <a:off x="13939439" y="3564868"/>
                  <a:ext cx="115887" cy="115888"/>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sp>
              <p:nvSpPr>
                <p:cNvPr id="5134" name="椭圆 32"/>
                <p:cNvSpPr>
                  <a:spLocks noChangeArrowheads="1"/>
                </p:cNvSpPr>
                <p:nvPr/>
              </p:nvSpPr>
              <p:spPr bwMode="auto">
                <a:xfrm rot="9110320">
                  <a:off x="14056973" y="2401220"/>
                  <a:ext cx="114300" cy="115888"/>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grpSp>
        </p:grpSp>
        <p:sp>
          <p:nvSpPr>
            <p:cNvPr id="5135" name="文本框 41"/>
            <p:cNvSpPr txBox="1">
              <a:spLocks noChangeArrowheads="1"/>
            </p:cNvSpPr>
            <p:nvPr/>
          </p:nvSpPr>
          <p:spPr bwMode="auto">
            <a:xfrm>
              <a:off x="5625036" y="1503537"/>
              <a:ext cx="2304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a:solidFill>
                    <a:schemeClr val="bg1"/>
                  </a:solidFill>
                </a:rPr>
                <a:t>1</a:t>
              </a:r>
            </a:p>
          </p:txBody>
        </p:sp>
      </p:grpSp>
      <p:grpSp>
        <p:nvGrpSpPr>
          <p:cNvPr id="44" name="组合 43"/>
          <p:cNvGrpSpPr/>
          <p:nvPr/>
        </p:nvGrpSpPr>
        <p:grpSpPr bwMode="auto">
          <a:xfrm rot="655813">
            <a:off x="5106988" y="2554288"/>
            <a:ext cx="855662" cy="781050"/>
            <a:chOff x="5338742" y="1329558"/>
            <a:chExt cx="855357" cy="780606"/>
          </a:xfrm>
        </p:grpSpPr>
        <p:grpSp>
          <p:nvGrpSpPr>
            <p:cNvPr id="5138" name="组合 44"/>
            <p:cNvGrpSpPr/>
            <p:nvPr/>
          </p:nvGrpSpPr>
          <p:grpSpPr bwMode="auto">
            <a:xfrm rot="789266">
              <a:off x="5338742" y="1329558"/>
              <a:ext cx="855357" cy="780606"/>
              <a:chOff x="13707721" y="2401221"/>
              <a:chExt cx="1435101" cy="1309686"/>
            </a:xfrm>
          </p:grpSpPr>
          <p:sp>
            <p:nvSpPr>
              <p:cNvPr id="5139" name="等腰三角形 46"/>
              <p:cNvSpPr>
                <a:spLocks noChangeArrowheads="1"/>
              </p:cNvSpPr>
              <p:nvPr/>
            </p:nvSpPr>
            <p:spPr bwMode="auto">
              <a:xfrm rot="-8687839">
                <a:off x="13707721" y="2696495"/>
                <a:ext cx="1176337" cy="1014412"/>
              </a:xfrm>
              <a:prstGeom prst="triangle">
                <a:avLst>
                  <a:gd name="adj" fmla="val 50000"/>
                </a:avLst>
              </a:prstGeom>
              <a:noFill/>
              <a:ln w="12700">
                <a:solidFill>
                  <a:srgbClr val="197519"/>
                </a:solidFill>
                <a:miter lim="800000"/>
              </a:ln>
              <a:extLst>
                <a:ext uri="{909E8E84-426E-40DD-AFC4-6F175D3DCCD1}">
                  <a14:hiddenFill xmlns:a14="http://schemas.microsoft.com/office/drawing/2010/main">
                    <a:solidFill>
                      <a:srgbClr val="FFFFFF"/>
                    </a:solidFill>
                  </a14:hiddenFill>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grpSp>
            <p:nvGrpSpPr>
              <p:cNvPr id="5140" name="组合 47"/>
              <p:cNvGrpSpPr/>
              <p:nvPr/>
            </p:nvGrpSpPr>
            <p:grpSpPr bwMode="auto">
              <a:xfrm>
                <a:off x="13839485" y="2401221"/>
                <a:ext cx="1303337" cy="1279525"/>
                <a:chOff x="13839374" y="2401220"/>
                <a:chExt cx="1303336" cy="1279536"/>
              </a:xfrm>
            </p:grpSpPr>
            <p:sp>
              <p:nvSpPr>
                <p:cNvPr id="5141" name="等腰三角形 48"/>
                <p:cNvSpPr>
                  <a:spLocks noChangeArrowheads="1"/>
                </p:cNvSpPr>
                <p:nvPr/>
              </p:nvSpPr>
              <p:spPr bwMode="auto">
                <a:xfrm rot="-8687839">
                  <a:off x="13839374" y="2756829"/>
                  <a:ext cx="944554" cy="815977"/>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5142" name="椭圆 49"/>
                <p:cNvSpPr>
                  <a:spLocks noChangeArrowheads="1"/>
                </p:cNvSpPr>
                <p:nvPr/>
              </p:nvSpPr>
              <p:spPr bwMode="auto">
                <a:xfrm rot="9110320">
                  <a:off x="15028410" y="3061629"/>
                  <a:ext cx="114300" cy="115888"/>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sp>
              <p:nvSpPr>
                <p:cNvPr id="5143" name="椭圆 50"/>
                <p:cNvSpPr>
                  <a:spLocks noChangeArrowheads="1"/>
                </p:cNvSpPr>
                <p:nvPr/>
              </p:nvSpPr>
              <p:spPr bwMode="auto">
                <a:xfrm rot="9110320">
                  <a:off x="13939439" y="3564868"/>
                  <a:ext cx="115887" cy="115888"/>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sp>
              <p:nvSpPr>
                <p:cNvPr id="5144" name="椭圆 51"/>
                <p:cNvSpPr>
                  <a:spLocks noChangeArrowheads="1"/>
                </p:cNvSpPr>
                <p:nvPr/>
              </p:nvSpPr>
              <p:spPr bwMode="auto">
                <a:xfrm rot="9110320">
                  <a:off x="14056973" y="2401220"/>
                  <a:ext cx="114300" cy="115888"/>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grpSp>
        </p:grpSp>
        <p:sp>
          <p:nvSpPr>
            <p:cNvPr id="5145" name="文本框 45"/>
            <p:cNvSpPr txBox="1">
              <a:spLocks noChangeArrowheads="1"/>
            </p:cNvSpPr>
            <p:nvPr/>
          </p:nvSpPr>
          <p:spPr bwMode="auto">
            <a:xfrm rot="-655813">
              <a:off x="5614772" y="1502452"/>
              <a:ext cx="2304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a:solidFill>
                    <a:schemeClr val="bg1"/>
                  </a:solidFill>
                </a:rPr>
                <a:t>2</a:t>
              </a:r>
            </a:p>
          </p:txBody>
        </p:sp>
      </p:grpSp>
      <p:sp>
        <p:nvSpPr>
          <p:cNvPr id="20" name="文本框 19"/>
          <p:cNvSpPr txBox="1">
            <a:spLocks noChangeArrowheads="1"/>
          </p:cNvSpPr>
          <p:nvPr/>
        </p:nvSpPr>
        <p:spPr bwMode="auto">
          <a:xfrm>
            <a:off x="4920585" y="3794996"/>
            <a:ext cx="50273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zh-CN" sz="2400" dirty="0">
                <a:solidFill>
                  <a:srgbClr val="197519"/>
                </a:solidFill>
                <a:latin typeface="Calibri" panose="020F0502020204030204" pitchFamily="34" charset="0"/>
                <a:cs typeface="Calibri" panose="020F0502020204030204" pitchFamily="34" charset="0"/>
              </a:rPr>
              <a:t>Non-Conformance Findings and CAP</a:t>
            </a:r>
          </a:p>
        </p:txBody>
      </p:sp>
      <p:grpSp>
        <p:nvGrpSpPr>
          <p:cNvPr id="53" name="组合 52"/>
          <p:cNvGrpSpPr/>
          <p:nvPr/>
        </p:nvGrpSpPr>
        <p:grpSpPr bwMode="auto">
          <a:xfrm rot="1311626">
            <a:off x="4237038" y="3663950"/>
            <a:ext cx="855662" cy="779463"/>
            <a:chOff x="5338742" y="1329558"/>
            <a:chExt cx="855357" cy="780606"/>
          </a:xfrm>
        </p:grpSpPr>
        <p:grpSp>
          <p:nvGrpSpPr>
            <p:cNvPr id="5148" name="组合 53"/>
            <p:cNvGrpSpPr/>
            <p:nvPr/>
          </p:nvGrpSpPr>
          <p:grpSpPr bwMode="auto">
            <a:xfrm rot="789266">
              <a:off x="5338742" y="1329558"/>
              <a:ext cx="855357" cy="780606"/>
              <a:chOff x="13707721" y="2401221"/>
              <a:chExt cx="1435101" cy="1309686"/>
            </a:xfrm>
          </p:grpSpPr>
          <p:sp>
            <p:nvSpPr>
              <p:cNvPr id="5149" name="等腰三角形 55"/>
              <p:cNvSpPr>
                <a:spLocks noChangeArrowheads="1"/>
              </p:cNvSpPr>
              <p:nvPr/>
            </p:nvSpPr>
            <p:spPr bwMode="auto">
              <a:xfrm rot="-8687839">
                <a:off x="13707721" y="2696495"/>
                <a:ext cx="1176337" cy="1014412"/>
              </a:xfrm>
              <a:prstGeom prst="triangle">
                <a:avLst>
                  <a:gd name="adj" fmla="val 50000"/>
                </a:avLst>
              </a:prstGeom>
              <a:noFill/>
              <a:ln w="12700">
                <a:solidFill>
                  <a:srgbClr val="197519"/>
                </a:solidFill>
                <a:miter lim="800000"/>
              </a:ln>
              <a:extLst>
                <a:ext uri="{909E8E84-426E-40DD-AFC4-6F175D3DCCD1}">
                  <a14:hiddenFill xmlns:a14="http://schemas.microsoft.com/office/drawing/2010/main">
                    <a:solidFill>
                      <a:srgbClr val="FFFFFF"/>
                    </a:solidFill>
                  </a14:hiddenFill>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grpSp>
            <p:nvGrpSpPr>
              <p:cNvPr id="5150" name="组合 56"/>
              <p:cNvGrpSpPr/>
              <p:nvPr/>
            </p:nvGrpSpPr>
            <p:grpSpPr bwMode="auto">
              <a:xfrm>
                <a:off x="13839485" y="2401221"/>
                <a:ext cx="1303337" cy="1279525"/>
                <a:chOff x="13839374" y="2401220"/>
                <a:chExt cx="1303336" cy="1279536"/>
              </a:xfrm>
            </p:grpSpPr>
            <p:sp>
              <p:nvSpPr>
                <p:cNvPr id="5151" name="等腰三角形 57"/>
                <p:cNvSpPr>
                  <a:spLocks noChangeArrowheads="1"/>
                </p:cNvSpPr>
                <p:nvPr/>
              </p:nvSpPr>
              <p:spPr bwMode="auto">
                <a:xfrm rot="-8687839">
                  <a:off x="13839374" y="2756829"/>
                  <a:ext cx="944554" cy="815977"/>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5152" name="椭圆 58"/>
                <p:cNvSpPr>
                  <a:spLocks noChangeArrowheads="1"/>
                </p:cNvSpPr>
                <p:nvPr/>
              </p:nvSpPr>
              <p:spPr bwMode="auto">
                <a:xfrm rot="9110320">
                  <a:off x="15028410" y="3061629"/>
                  <a:ext cx="114300" cy="115888"/>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sp>
              <p:nvSpPr>
                <p:cNvPr id="5153" name="椭圆 59"/>
                <p:cNvSpPr>
                  <a:spLocks noChangeArrowheads="1"/>
                </p:cNvSpPr>
                <p:nvPr/>
              </p:nvSpPr>
              <p:spPr bwMode="auto">
                <a:xfrm rot="9110320">
                  <a:off x="13939439" y="3564868"/>
                  <a:ext cx="115887" cy="115888"/>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sp>
              <p:nvSpPr>
                <p:cNvPr id="5154" name="椭圆 60"/>
                <p:cNvSpPr>
                  <a:spLocks noChangeArrowheads="1"/>
                </p:cNvSpPr>
                <p:nvPr/>
              </p:nvSpPr>
              <p:spPr bwMode="auto">
                <a:xfrm rot="9110320">
                  <a:off x="14056973" y="2401220"/>
                  <a:ext cx="114300" cy="115888"/>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grpSp>
        </p:grpSp>
        <p:sp>
          <p:nvSpPr>
            <p:cNvPr id="5155" name="文本框 54"/>
            <p:cNvSpPr txBox="1">
              <a:spLocks noChangeArrowheads="1"/>
            </p:cNvSpPr>
            <p:nvPr/>
          </p:nvSpPr>
          <p:spPr bwMode="auto">
            <a:xfrm rot="-1530250">
              <a:off x="5620692" y="1522805"/>
              <a:ext cx="2304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dirty="0">
                  <a:solidFill>
                    <a:schemeClr val="bg1"/>
                  </a:solidFill>
                </a:rPr>
                <a:t>3</a:t>
              </a:r>
            </a:p>
          </p:txBody>
        </p:sp>
      </p:grpSp>
      <p:grpSp>
        <p:nvGrpSpPr>
          <p:cNvPr id="7" name="组合 6"/>
          <p:cNvGrpSpPr/>
          <p:nvPr/>
        </p:nvGrpSpPr>
        <p:grpSpPr bwMode="auto">
          <a:xfrm>
            <a:off x="-63074" y="0"/>
            <a:ext cx="5453063" cy="5597525"/>
            <a:chOff x="-63076" y="0"/>
            <a:chExt cx="5453336" cy="5596974"/>
          </a:xfrm>
        </p:grpSpPr>
        <p:sp>
          <p:nvSpPr>
            <p:cNvPr id="41" name="任意多边形 40"/>
            <p:cNvSpPr/>
            <p:nvPr/>
          </p:nvSpPr>
          <p:spPr>
            <a:xfrm>
              <a:off x="-63076" y="0"/>
              <a:ext cx="5453336" cy="5596974"/>
            </a:xfrm>
            <a:custGeom>
              <a:avLst/>
              <a:gdLst>
                <a:gd name="connsiteX0" fmla="*/ 0 w 5453336"/>
                <a:gd name="connsiteY0" fmla="*/ 0 h 5596974"/>
                <a:gd name="connsiteX1" fmla="*/ 5453336 w 5453336"/>
                <a:gd name="connsiteY1" fmla="*/ 0 h 5596974"/>
                <a:gd name="connsiteX2" fmla="*/ 140848 w 5453336"/>
                <a:gd name="connsiteY2" fmla="*/ 5593412 h 5596974"/>
                <a:gd name="connsiteX3" fmla="*/ 0 w 5453336"/>
                <a:gd name="connsiteY3" fmla="*/ 5596974 h 5596974"/>
              </a:gdLst>
              <a:ahLst/>
              <a:cxnLst>
                <a:cxn ang="0">
                  <a:pos x="connsiteX0" y="connsiteY0"/>
                </a:cxn>
                <a:cxn ang="0">
                  <a:pos x="connsiteX1" y="connsiteY1"/>
                </a:cxn>
                <a:cxn ang="0">
                  <a:pos x="connsiteX2" y="connsiteY2"/>
                </a:cxn>
                <a:cxn ang="0">
                  <a:pos x="connsiteX3" y="connsiteY3"/>
                </a:cxn>
              </a:cxnLst>
              <a:rect l="l" t="t" r="r" b="b"/>
              <a:pathLst>
                <a:path w="5453336" h="5596974">
                  <a:moveTo>
                    <a:pt x="0" y="0"/>
                  </a:moveTo>
                  <a:lnTo>
                    <a:pt x="5453336" y="0"/>
                  </a:lnTo>
                  <a:cubicBezTo>
                    <a:pt x="5453336" y="2996519"/>
                    <a:pt x="3100088" y="5443408"/>
                    <a:pt x="140848" y="5593412"/>
                  </a:cubicBezTo>
                  <a:lnTo>
                    <a:pt x="0" y="5596974"/>
                  </a:lnTo>
                  <a:close/>
                </a:path>
              </a:pathLst>
            </a:custGeom>
            <a:solidFill>
              <a:srgbClr val="19751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nvGrpSpPr>
            <p:cNvPr id="5168" name="组合 78"/>
            <p:cNvGrpSpPr/>
            <p:nvPr/>
          </p:nvGrpSpPr>
          <p:grpSpPr bwMode="auto">
            <a:xfrm>
              <a:off x="654256" y="1461442"/>
              <a:ext cx="3084134" cy="1759691"/>
              <a:chOff x="654256" y="1618167"/>
              <a:chExt cx="3084134" cy="1759691"/>
            </a:xfrm>
          </p:grpSpPr>
          <p:sp>
            <p:nvSpPr>
              <p:cNvPr id="5169" name="文本框 75"/>
              <p:cNvSpPr txBox="1">
                <a:spLocks noChangeArrowheads="1"/>
              </p:cNvSpPr>
              <p:nvPr/>
            </p:nvSpPr>
            <p:spPr bwMode="auto">
              <a:xfrm>
                <a:off x="1139021" y="1618167"/>
                <a:ext cx="1899282"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dist"/>
                <a:endParaRPr lang="zh-CN" altLang="en-US" sz="5400" dirty="0">
                  <a:solidFill>
                    <a:schemeClr val="bg1"/>
                  </a:solidFill>
                </a:endParaRPr>
              </a:p>
            </p:txBody>
          </p:sp>
          <p:sp>
            <p:nvSpPr>
              <p:cNvPr id="5170" name="文本框 77"/>
              <p:cNvSpPr txBox="1">
                <a:spLocks noChangeArrowheads="1"/>
              </p:cNvSpPr>
              <p:nvPr/>
            </p:nvSpPr>
            <p:spPr bwMode="auto">
              <a:xfrm>
                <a:off x="654256" y="2669972"/>
                <a:ext cx="308413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dist"/>
                <a:r>
                  <a:rPr lang="en-US" altLang="zh-CN" sz="4000" dirty="0">
                    <a:solidFill>
                      <a:schemeClr val="bg1"/>
                    </a:solidFill>
                    <a:latin typeface="Calibri" panose="020F0502020204030204" pitchFamily="34" charset="0"/>
                    <a:cs typeface="Calibri" panose="020F0502020204030204" pitchFamily="34" charset="0"/>
                  </a:rPr>
                  <a:t>AGENDA </a:t>
                </a:r>
                <a:endParaRPr lang="zh-CN" altLang="en-US" sz="4000" dirty="0">
                  <a:solidFill>
                    <a:schemeClr val="bg1"/>
                  </a:solidFill>
                  <a:latin typeface="Calibri" panose="020F0502020204030204" pitchFamily="34" charset="0"/>
                  <a:cs typeface="Calibri" panose="020F0502020204030204" pitchFamily="34" charset="0"/>
                </a:endParaRPr>
              </a:p>
            </p:txBody>
          </p:sp>
        </p:grpSp>
      </p:grpSp>
      <p:grpSp>
        <p:nvGrpSpPr>
          <p:cNvPr id="9" name="组合 8"/>
          <p:cNvGrpSpPr/>
          <p:nvPr/>
        </p:nvGrpSpPr>
        <p:grpSpPr bwMode="auto">
          <a:xfrm>
            <a:off x="8461375" y="3087688"/>
            <a:ext cx="3730625" cy="3770312"/>
            <a:chOff x="8461714" y="3087044"/>
            <a:chExt cx="3730286" cy="3770956"/>
          </a:xfrm>
        </p:grpSpPr>
        <p:sp>
          <p:nvSpPr>
            <p:cNvPr id="75" name="任意多边形 74"/>
            <p:cNvSpPr/>
            <p:nvPr/>
          </p:nvSpPr>
          <p:spPr>
            <a:xfrm>
              <a:off x="8461714" y="3087044"/>
              <a:ext cx="3730286" cy="3770956"/>
            </a:xfrm>
            <a:custGeom>
              <a:avLst/>
              <a:gdLst>
                <a:gd name="connsiteX0" fmla="*/ 3598693 w 3730286"/>
                <a:gd name="connsiteY0" fmla="*/ 0 h 3770956"/>
                <a:gd name="connsiteX1" fmla="*/ 3730286 w 3730286"/>
                <a:gd name="connsiteY1" fmla="*/ 3091 h 3770956"/>
                <a:gd name="connsiteX2" fmla="*/ 3730286 w 3730286"/>
                <a:gd name="connsiteY2" fmla="*/ 3770956 h 3770956"/>
                <a:gd name="connsiteX3" fmla="*/ 32770 w 3730286"/>
                <a:gd name="connsiteY3" fmla="*/ 3770956 h 3770956"/>
                <a:gd name="connsiteX4" fmla="*/ 18580 w 3730286"/>
                <a:gd name="connsiteY4" fmla="*/ 3684585 h 3770956"/>
                <a:gd name="connsiteX5" fmla="*/ 0 w 3730286"/>
                <a:gd name="connsiteY5" fmla="*/ 3342803 h 3770956"/>
                <a:gd name="connsiteX6" fmla="*/ 3598693 w 3730286"/>
                <a:gd name="connsiteY6" fmla="*/ 0 h 3770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0286" h="3770956">
                  <a:moveTo>
                    <a:pt x="3598693" y="0"/>
                  </a:moveTo>
                  <a:lnTo>
                    <a:pt x="3730286" y="3091"/>
                  </a:lnTo>
                  <a:lnTo>
                    <a:pt x="3730286" y="3770956"/>
                  </a:lnTo>
                  <a:lnTo>
                    <a:pt x="32770" y="3770956"/>
                  </a:lnTo>
                  <a:lnTo>
                    <a:pt x="18580" y="3684585"/>
                  </a:lnTo>
                  <a:cubicBezTo>
                    <a:pt x="6294" y="3572210"/>
                    <a:pt x="0" y="3458189"/>
                    <a:pt x="0" y="3342803"/>
                  </a:cubicBezTo>
                  <a:cubicBezTo>
                    <a:pt x="0" y="1496624"/>
                    <a:pt x="1611190" y="0"/>
                    <a:pt x="3598693" y="0"/>
                  </a:cubicBezTo>
                  <a:close/>
                </a:path>
              </a:pathLst>
            </a:custGeom>
            <a:solidFill>
              <a:srgbClr val="19751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5173" name="Freeform 5"/>
            <p:cNvSpPr>
              <a:spLocks noEditPoints="1" noChangeArrowheads="1"/>
            </p:cNvSpPr>
            <p:nvPr/>
          </p:nvSpPr>
          <p:spPr bwMode="auto">
            <a:xfrm>
              <a:off x="9784709" y="4787634"/>
              <a:ext cx="1758950" cy="1637450"/>
            </a:xfrm>
            <a:custGeom>
              <a:avLst/>
              <a:gdLst>
                <a:gd name="T0" fmla="*/ 118 w 126"/>
                <a:gd name="T1" fmla="*/ 0 h 117"/>
                <a:gd name="T2" fmla="*/ 126 w 126"/>
                <a:gd name="T3" fmla="*/ 78 h 117"/>
                <a:gd name="T4" fmla="*/ 113 w 126"/>
                <a:gd name="T5" fmla="*/ 86 h 117"/>
                <a:gd name="T6" fmla="*/ 116 w 126"/>
                <a:gd name="T7" fmla="*/ 77 h 117"/>
                <a:gd name="T8" fmla="*/ 10 w 126"/>
                <a:gd name="T9" fmla="*/ 8 h 117"/>
                <a:gd name="T10" fmla="*/ 48 w 126"/>
                <a:gd name="T11" fmla="*/ 77 h 117"/>
                <a:gd name="T12" fmla="*/ 55 w 126"/>
                <a:gd name="T13" fmla="*/ 86 h 117"/>
                <a:gd name="T14" fmla="*/ 0 w 126"/>
                <a:gd name="T15" fmla="*/ 78 h 117"/>
                <a:gd name="T16" fmla="*/ 8 w 126"/>
                <a:gd name="T17" fmla="*/ 0 h 117"/>
                <a:gd name="T18" fmla="*/ 86 w 126"/>
                <a:gd name="T19" fmla="*/ 48 h 117"/>
                <a:gd name="T20" fmla="*/ 111 w 126"/>
                <a:gd name="T21" fmla="*/ 46 h 117"/>
                <a:gd name="T22" fmla="*/ 86 w 126"/>
                <a:gd name="T23" fmla="*/ 39 h 117"/>
                <a:gd name="T24" fmla="*/ 111 w 126"/>
                <a:gd name="T25" fmla="*/ 41 h 117"/>
                <a:gd name="T26" fmla="*/ 86 w 126"/>
                <a:gd name="T27" fmla="*/ 39 h 117"/>
                <a:gd name="T28" fmla="*/ 99 w 126"/>
                <a:gd name="T29" fmla="*/ 32 h 117"/>
                <a:gd name="T30" fmla="*/ 111 w 126"/>
                <a:gd name="T31" fmla="*/ 30 h 117"/>
                <a:gd name="T32" fmla="*/ 99 w 126"/>
                <a:gd name="T33" fmla="*/ 23 h 117"/>
                <a:gd name="T34" fmla="*/ 111 w 126"/>
                <a:gd name="T35" fmla="*/ 25 h 117"/>
                <a:gd name="T36" fmla="*/ 99 w 126"/>
                <a:gd name="T37" fmla="*/ 23 h 117"/>
                <a:gd name="T38" fmla="*/ 99 w 126"/>
                <a:gd name="T39" fmla="*/ 18 h 117"/>
                <a:gd name="T40" fmla="*/ 111 w 126"/>
                <a:gd name="T41" fmla="*/ 16 h 117"/>
                <a:gd name="T42" fmla="*/ 73 w 126"/>
                <a:gd name="T43" fmla="*/ 16 h 117"/>
                <a:gd name="T44" fmla="*/ 95 w 126"/>
                <a:gd name="T45" fmla="*/ 34 h 117"/>
                <a:gd name="T46" fmla="*/ 73 w 126"/>
                <a:gd name="T47" fmla="*/ 16 h 117"/>
                <a:gd name="T48" fmla="*/ 37 w 126"/>
                <a:gd name="T49" fmla="*/ 57 h 117"/>
                <a:gd name="T50" fmla="*/ 31 w 126"/>
                <a:gd name="T51" fmla="*/ 40 h 117"/>
                <a:gd name="T52" fmla="*/ 17 w 126"/>
                <a:gd name="T53" fmla="*/ 39 h 117"/>
                <a:gd name="T54" fmla="*/ 31 w 126"/>
                <a:gd name="T55" fmla="*/ 34 h 117"/>
                <a:gd name="T56" fmla="*/ 42 w 126"/>
                <a:gd name="T57" fmla="*/ 38 h 117"/>
                <a:gd name="T58" fmla="*/ 43 w 126"/>
                <a:gd name="T59" fmla="*/ 39 h 117"/>
                <a:gd name="T60" fmla="*/ 51 w 126"/>
                <a:gd name="T61" fmla="*/ 42 h 117"/>
                <a:gd name="T62" fmla="*/ 53 w 126"/>
                <a:gd name="T63" fmla="*/ 28 h 117"/>
                <a:gd name="T64" fmla="*/ 58 w 126"/>
                <a:gd name="T65" fmla="*/ 31 h 117"/>
                <a:gd name="T66" fmla="*/ 67 w 126"/>
                <a:gd name="T67" fmla="*/ 22 h 117"/>
                <a:gd name="T68" fmla="*/ 55 w 126"/>
                <a:gd name="T69" fmla="*/ 19 h 117"/>
                <a:gd name="T70" fmla="*/ 50 w 126"/>
                <a:gd name="T71" fmla="*/ 24 h 117"/>
                <a:gd name="T72" fmla="*/ 49 w 126"/>
                <a:gd name="T73" fmla="*/ 26 h 117"/>
                <a:gd name="T74" fmla="*/ 45 w 126"/>
                <a:gd name="T75" fmla="*/ 35 h 117"/>
                <a:gd name="T76" fmla="*/ 41 w 126"/>
                <a:gd name="T77" fmla="*/ 31 h 117"/>
                <a:gd name="T78" fmla="*/ 31 w 126"/>
                <a:gd name="T79" fmla="*/ 29 h 117"/>
                <a:gd name="T80" fmla="*/ 22 w 126"/>
                <a:gd name="T81" fmla="*/ 57 h 117"/>
                <a:gd name="T82" fmla="*/ 28 w 126"/>
                <a:gd name="T83" fmla="*/ 44 h 117"/>
                <a:gd name="T84" fmla="*/ 22 w 126"/>
                <a:gd name="T85" fmla="*/ 57 h 117"/>
                <a:gd name="T86" fmla="*/ 63 w 126"/>
                <a:gd name="T87" fmla="*/ 57 h 117"/>
                <a:gd name="T88" fmla="*/ 57 w 126"/>
                <a:gd name="T89" fmla="*/ 32 h 117"/>
                <a:gd name="T90" fmla="*/ 48 w 126"/>
                <a:gd name="T91" fmla="*/ 57 h 117"/>
                <a:gd name="T92" fmla="*/ 54 w 126"/>
                <a:gd name="T93" fmla="*/ 46 h 117"/>
                <a:gd name="T94" fmla="*/ 48 w 126"/>
                <a:gd name="T95" fmla="*/ 57 h 117"/>
                <a:gd name="T96" fmla="*/ 45 w 126"/>
                <a:gd name="T97" fmla="*/ 57 h 117"/>
                <a:gd name="T98" fmla="*/ 39 w 126"/>
                <a:gd name="T99" fmla="*/ 43 h 117"/>
                <a:gd name="T100" fmla="*/ 82 w 126"/>
                <a:gd name="T101" fmla="*/ 67 h 117"/>
                <a:gd name="T102" fmla="*/ 73 w 126"/>
                <a:gd name="T103" fmla="*/ 41 h 117"/>
                <a:gd name="T104" fmla="*/ 61 w 126"/>
                <a:gd name="T105" fmla="*/ 71 h 117"/>
                <a:gd name="T106" fmla="*/ 66 w 126"/>
                <a:gd name="T107" fmla="*/ 93 h 117"/>
                <a:gd name="T108" fmla="*/ 73 w 126"/>
                <a:gd name="T109" fmla="*/ 117 h 117"/>
                <a:gd name="T110" fmla="*/ 101 w 126"/>
                <a:gd name="T111" fmla="*/ 110 h 117"/>
                <a:gd name="T112" fmla="*/ 98 w 126"/>
                <a:gd name="T113" fmla="*/ 66 h 117"/>
                <a:gd name="T114" fmla="*/ 97 w 126"/>
                <a:gd name="T115" fmla="*/ 61 h 117"/>
                <a:gd name="T116" fmla="*/ 89 w 126"/>
                <a:gd name="T117" fmla="*/ 63 h 117"/>
                <a:gd name="T118" fmla="*/ 83 w 126"/>
                <a:gd name="T119" fmla="*/ 58 h 117"/>
                <a:gd name="T120" fmla="*/ 3 w 126"/>
                <a:gd name="T121" fmla="*/ 31 h 117"/>
                <a:gd name="T122" fmla="*/ 6 w 126"/>
                <a:gd name="T123" fmla="*/ 53 h 117"/>
                <a:gd name="T124" fmla="*/ 3 w 126"/>
                <a:gd name="T125" fmla="*/ 3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 h="117">
                  <a:moveTo>
                    <a:pt x="8" y="0"/>
                  </a:moveTo>
                  <a:cubicBezTo>
                    <a:pt x="118" y="0"/>
                    <a:pt x="118" y="0"/>
                    <a:pt x="118" y="0"/>
                  </a:cubicBezTo>
                  <a:cubicBezTo>
                    <a:pt x="123" y="0"/>
                    <a:pt x="126" y="4"/>
                    <a:pt x="126" y="8"/>
                  </a:cubicBezTo>
                  <a:cubicBezTo>
                    <a:pt x="126" y="78"/>
                    <a:pt x="126" y="78"/>
                    <a:pt x="126" y="78"/>
                  </a:cubicBezTo>
                  <a:cubicBezTo>
                    <a:pt x="126" y="82"/>
                    <a:pt x="123" y="86"/>
                    <a:pt x="118" y="86"/>
                  </a:cubicBezTo>
                  <a:cubicBezTo>
                    <a:pt x="113" y="86"/>
                    <a:pt x="113" y="86"/>
                    <a:pt x="113" y="86"/>
                  </a:cubicBezTo>
                  <a:cubicBezTo>
                    <a:pt x="113" y="83"/>
                    <a:pt x="114" y="80"/>
                    <a:pt x="114" y="77"/>
                  </a:cubicBezTo>
                  <a:cubicBezTo>
                    <a:pt x="116" y="77"/>
                    <a:pt x="116" y="77"/>
                    <a:pt x="116" y="77"/>
                  </a:cubicBezTo>
                  <a:cubicBezTo>
                    <a:pt x="116" y="8"/>
                    <a:pt x="116" y="8"/>
                    <a:pt x="116" y="8"/>
                  </a:cubicBezTo>
                  <a:cubicBezTo>
                    <a:pt x="10" y="8"/>
                    <a:pt x="10" y="8"/>
                    <a:pt x="10" y="8"/>
                  </a:cubicBezTo>
                  <a:cubicBezTo>
                    <a:pt x="10" y="77"/>
                    <a:pt x="10" y="77"/>
                    <a:pt x="10" y="77"/>
                  </a:cubicBezTo>
                  <a:cubicBezTo>
                    <a:pt x="48" y="77"/>
                    <a:pt x="48" y="77"/>
                    <a:pt x="48" y="77"/>
                  </a:cubicBezTo>
                  <a:cubicBezTo>
                    <a:pt x="51" y="81"/>
                    <a:pt x="51" y="81"/>
                    <a:pt x="51" y="81"/>
                  </a:cubicBezTo>
                  <a:cubicBezTo>
                    <a:pt x="52" y="82"/>
                    <a:pt x="54" y="84"/>
                    <a:pt x="55" y="86"/>
                  </a:cubicBezTo>
                  <a:cubicBezTo>
                    <a:pt x="8" y="86"/>
                    <a:pt x="8" y="86"/>
                    <a:pt x="8" y="86"/>
                  </a:cubicBezTo>
                  <a:cubicBezTo>
                    <a:pt x="3" y="86"/>
                    <a:pt x="0" y="82"/>
                    <a:pt x="0" y="78"/>
                  </a:cubicBezTo>
                  <a:cubicBezTo>
                    <a:pt x="0" y="8"/>
                    <a:pt x="0" y="8"/>
                    <a:pt x="0" y="8"/>
                  </a:cubicBezTo>
                  <a:cubicBezTo>
                    <a:pt x="0" y="4"/>
                    <a:pt x="3" y="0"/>
                    <a:pt x="8" y="0"/>
                  </a:cubicBezTo>
                  <a:close/>
                  <a:moveTo>
                    <a:pt x="86" y="46"/>
                  </a:moveTo>
                  <a:cubicBezTo>
                    <a:pt x="86" y="48"/>
                    <a:pt x="86" y="48"/>
                    <a:pt x="86" y="48"/>
                  </a:cubicBezTo>
                  <a:cubicBezTo>
                    <a:pt x="111" y="48"/>
                    <a:pt x="111" y="48"/>
                    <a:pt x="111" y="48"/>
                  </a:cubicBezTo>
                  <a:cubicBezTo>
                    <a:pt x="111" y="46"/>
                    <a:pt x="111" y="46"/>
                    <a:pt x="111" y="46"/>
                  </a:cubicBezTo>
                  <a:cubicBezTo>
                    <a:pt x="86" y="46"/>
                    <a:pt x="86" y="46"/>
                    <a:pt x="86" y="46"/>
                  </a:cubicBezTo>
                  <a:close/>
                  <a:moveTo>
                    <a:pt x="86" y="39"/>
                  </a:moveTo>
                  <a:cubicBezTo>
                    <a:pt x="86" y="41"/>
                    <a:pt x="86" y="41"/>
                    <a:pt x="86" y="41"/>
                  </a:cubicBezTo>
                  <a:cubicBezTo>
                    <a:pt x="111" y="41"/>
                    <a:pt x="111" y="41"/>
                    <a:pt x="111" y="41"/>
                  </a:cubicBezTo>
                  <a:cubicBezTo>
                    <a:pt x="111" y="39"/>
                    <a:pt x="111" y="39"/>
                    <a:pt x="111" y="39"/>
                  </a:cubicBezTo>
                  <a:cubicBezTo>
                    <a:pt x="86" y="39"/>
                    <a:pt x="86" y="39"/>
                    <a:pt x="86" y="39"/>
                  </a:cubicBezTo>
                  <a:close/>
                  <a:moveTo>
                    <a:pt x="99" y="30"/>
                  </a:moveTo>
                  <a:cubicBezTo>
                    <a:pt x="99" y="32"/>
                    <a:pt x="99" y="32"/>
                    <a:pt x="99" y="32"/>
                  </a:cubicBezTo>
                  <a:cubicBezTo>
                    <a:pt x="111" y="32"/>
                    <a:pt x="111" y="32"/>
                    <a:pt x="111" y="32"/>
                  </a:cubicBezTo>
                  <a:cubicBezTo>
                    <a:pt x="111" y="30"/>
                    <a:pt x="111" y="30"/>
                    <a:pt x="111" y="30"/>
                  </a:cubicBezTo>
                  <a:cubicBezTo>
                    <a:pt x="99" y="30"/>
                    <a:pt x="99" y="30"/>
                    <a:pt x="99" y="30"/>
                  </a:cubicBezTo>
                  <a:close/>
                  <a:moveTo>
                    <a:pt x="99" y="23"/>
                  </a:moveTo>
                  <a:cubicBezTo>
                    <a:pt x="99" y="25"/>
                    <a:pt x="99" y="25"/>
                    <a:pt x="99" y="25"/>
                  </a:cubicBezTo>
                  <a:cubicBezTo>
                    <a:pt x="111" y="25"/>
                    <a:pt x="111" y="25"/>
                    <a:pt x="111" y="25"/>
                  </a:cubicBezTo>
                  <a:cubicBezTo>
                    <a:pt x="111" y="23"/>
                    <a:pt x="111" y="23"/>
                    <a:pt x="111" y="23"/>
                  </a:cubicBezTo>
                  <a:cubicBezTo>
                    <a:pt x="99" y="23"/>
                    <a:pt x="99" y="23"/>
                    <a:pt x="99" y="23"/>
                  </a:cubicBezTo>
                  <a:close/>
                  <a:moveTo>
                    <a:pt x="99" y="16"/>
                  </a:moveTo>
                  <a:cubicBezTo>
                    <a:pt x="99" y="18"/>
                    <a:pt x="99" y="18"/>
                    <a:pt x="99" y="18"/>
                  </a:cubicBezTo>
                  <a:cubicBezTo>
                    <a:pt x="111" y="18"/>
                    <a:pt x="111" y="18"/>
                    <a:pt x="111" y="18"/>
                  </a:cubicBezTo>
                  <a:cubicBezTo>
                    <a:pt x="111" y="16"/>
                    <a:pt x="111" y="16"/>
                    <a:pt x="111" y="16"/>
                  </a:cubicBezTo>
                  <a:cubicBezTo>
                    <a:pt x="99" y="16"/>
                    <a:pt x="99" y="16"/>
                    <a:pt x="99" y="16"/>
                  </a:cubicBezTo>
                  <a:close/>
                  <a:moveTo>
                    <a:pt x="73" y="16"/>
                  </a:moveTo>
                  <a:cubicBezTo>
                    <a:pt x="73" y="34"/>
                    <a:pt x="73" y="34"/>
                    <a:pt x="73" y="34"/>
                  </a:cubicBezTo>
                  <a:cubicBezTo>
                    <a:pt x="95" y="34"/>
                    <a:pt x="95" y="34"/>
                    <a:pt x="95" y="34"/>
                  </a:cubicBezTo>
                  <a:cubicBezTo>
                    <a:pt x="95" y="16"/>
                    <a:pt x="95" y="16"/>
                    <a:pt x="95" y="16"/>
                  </a:cubicBezTo>
                  <a:cubicBezTo>
                    <a:pt x="73" y="16"/>
                    <a:pt x="73" y="16"/>
                    <a:pt x="73" y="16"/>
                  </a:cubicBezTo>
                  <a:close/>
                  <a:moveTo>
                    <a:pt x="31" y="57"/>
                  </a:moveTo>
                  <a:cubicBezTo>
                    <a:pt x="37" y="57"/>
                    <a:pt x="37" y="57"/>
                    <a:pt x="37" y="57"/>
                  </a:cubicBezTo>
                  <a:cubicBezTo>
                    <a:pt x="37" y="40"/>
                    <a:pt x="37" y="40"/>
                    <a:pt x="37" y="40"/>
                  </a:cubicBezTo>
                  <a:cubicBezTo>
                    <a:pt x="31" y="40"/>
                    <a:pt x="31" y="40"/>
                    <a:pt x="31" y="40"/>
                  </a:cubicBezTo>
                  <a:cubicBezTo>
                    <a:pt x="31" y="57"/>
                    <a:pt x="31" y="57"/>
                    <a:pt x="31" y="57"/>
                  </a:cubicBezTo>
                  <a:close/>
                  <a:moveTo>
                    <a:pt x="17" y="39"/>
                  </a:moveTo>
                  <a:cubicBezTo>
                    <a:pt x="19" y="43"/>
                    <a:pt x="19" y="43"/>
                    <a:pt x="19" y="43"/>
                  </a:cubicBezTo>
                  <a:cubicBezTo>
                    <a:pt x="31" y="34"/>
                    <a:pt x="31" y="34"/>
                    <a:pt x="31" y="34"/>
                  </a:cubicBezTo>
                  <a:cubicBezTo>
                    <a:pt x="38" y="34"/>
                    <a:pt x="38" y="34"/>
                    <a:pt x="38" y="34"/>
                  </a:cubicBezTo>
                  <a:cubicBezTo>
                    <a:pt x="42" y="38"/>
                    <a:pt x="42" y="38"/>
                    <a:pt x="42" y="38"/>
                  </a:cubicBezTo>
                  <a:cubicBezTo>
                    <a:pt x="42" y="39"/>
                    <a:pt x="42" y="39"/>
                    <a:pt x="42" y="39"/>
                  </a:cubicBezTo>
                  <a:cubicBezTo>
                    <a:pt x="43" y="39"/>
                    <a:pt x="43" y="39"/>
                    <a:pt x="43" y="39"/>
                  </a:cubicBezTo>
                  <a:cubicBezTo>
                    <a:pt x="48" y="41"/>
                    <a:pt x="48" y="41"/>
                    <a:pt x="48" y="41"/>
                  </a:cubicBezTo>
                  <a:cubicBezTo>
                    <a:pt x="51" y="42"/>
                    <a:pt x="51" y="42"/>
                    <a:pt x="51" y="42"/>
                  </a:cubicBezTo>
                  <a:cubicBezTo>
                    <a:pt x="51" y="39"/>
                    <a:pt x="51" y="39"/>
                    <a:pt x="51" y="39"/>
                  </a:cubicBezTo>
                  <a:cubicBezTo>
                    <a:pt x="53" y="28"/>
                    <a:pt x="53" y="28"/>
                    <a:pt x="53" y="28"/>
                  </a:cubicBezTo>
                  <a:cubicBezTo>
                    <a:pt x="57" y="27"/>
                    <a:pt x="57" y="27"/>
                    <a:pt x="57" y="27"/>
                  </a:cubicBezTo>
                  <a:cubicBezTo>
                    <a:pt x="58" y="31"/>
                    <a:pt x="58" y="31"/>
                    <a:pt x="58" y="31"/>
                  </a:cubicBezTo>
                  <a:cubicBezTo>
                    <a:pt x="62" y="26"/>
                    <a:pt x="62" y="26"/>
                    <a:pt x="62" y="26"/>
                  </a:cubicBezTo>
                  <a:cubicBezTo>
                    <a:pt x="67" y="22"/>
                    <a:pt x="67" y="22"/>
                    <a:pt x="67" y="22"/>
                  </a:cubicBezTo>
                  <a:cubicBezTo>
                    <a:pt x="61" y="21"/>
                    <a:pt x="61" y="21"/>
                    <a:pt x="61" y="21"/>
                  </a:cubicBezTo>
                  <a:cubicBezTo>
                    <a:pt x="55" y="19"/>
                    <a:pt x="55" y="19"/>
                    <a:pt x="55" y="19"/>
                  </a:cubicBezTo>
                  <a:cubicBezTo>
                    <a:pt x="56" y="23"/>
                    <a:pt x="56" y="23"/>
                    <a:pt x="56" y="23"/>
                  </a:cubicBezTo>
                  <a:cubicBezTo>
                    <a:pt x="50" y="24"/>
                    <a:pt x="50" y="24"/>
                    <a:pt x="50" y="24"/>
                  </a:cubicBezTo>
                  <a:cubicBezTo>
                    <a:pt x="49" y="25"/>
                    <a:pt x="49" y="25"/>
                    <a:pt x="49" y="25"/>
                  </a:cubicBezTo>
                  <a:cubicBezTo>
                    <a:pt x="49" y="26"/>
                    <a:pt x="49" y="26"/>
                    <a:pt x="49" y="26"/>
                  </a:cubicBezTo>
                  <a:cubicBezTo>
                    <a:pt x="47" y="36"/>
                    <a:pt x="47" y="36"/>
                    <a:pt x="47" y="36"/>
                  </a:cubicBezTo>
                  <a:cubicBezTo>
                    <a:pt x="45" y="35"/>
                    <a:pt x="45" y="35"/>
                    <a:pt x="45" y="35"/>
                  </a:cubicBezTo>
                  <a:cubicBezTo>
                    <a:pt x="41" y="31"/>
                    <a:pt x="41" y="31"/>
                    <a:pt x="41" y="31"/>
                  </a:cubicBezTo>
                  <a:cubicBezTo>
                    <a:pt x="41" y="31"/>
                    <a:pt x="41" y="31"/>
                    <a:pt x="41" y="31"/>
                  </a:cubicBezTo>
                  <a:cubicBezTo>
                    <a:pt x="40" y="30"/>
                    <a:pt x="40" y="30"/>
                    <a:pt x="40" y="30"/>
                  </a:cubicBezTo>
                  <a:cubicBezTo>
                    <a:pt x="31" y="29"/>
                    <a:pt x="31" y="29"/>
                    <a:pt x="31" y="29"/>
                  </a:cubicBezTo>
                  <a:cubicBezTo>
                    <a:pt x="17" y="39"/>
                    <a:pt x="17" y="39"/>
                    <a:pt x="17" y="39"/>
                  </a:cubicBezTo>
                  <a:close/>
                  <a:moveTo>
                    <a:pt x="22" y="57"/>
                  </a:moveTo>
                  <a:cubicBezTo>
                    <a:pt x="28" y="57"/>
                    <a:pt x="28" y="57"/>
                    <a:pt x="28" y="57"/>
                  </a:cubicBezTo>
                  <a:cubicBezTo>
                    <a:pt x="28" y="44"/>
                    <a:pt x="28" y="44"/>
                    <a:pt x="28" y="44"/>
                  </a:cubicBezTo>
                  <a:cubicBezTo>
                    <a:pt x="22" y="44"/>
                    <a:pt x="22" y="44"/>
                    <a:pt x="22" y="44"/>
                  </a:cubicBezTo>
                  <a:cubicBezTo>
                    <a:pt x="22" y="57"/>
                    <a:pt x="22" y="57"/>
                    <a:pt x="22" y="57"/>
                  </a:cubicBezTo>
                  <a:close/>
                  <a:moveTo>
                    <a:pt x="57" y="57"/>
                  </a:moveTo>
                  <a:cubicBezTo>
                    <a:pt x="63" y="57"/>
                    <a:pt x="63" y="57"/>
                    <a:pt x="63" y="57"/>
                  </a:cubicBezTo>
                  <a:cubicBezTo>
                    <a:pt x="63" y="32"/>
                    <a:pt x="63" y="32"/>
                    <a:pt x="63" y="32"/>
                  </a:cubicBezTo>
                  <a:cubicBezTo>
                    <a:pt x="57" y="32"/>
                    <a:pt x="57" y="32"/>
                    <a:pt x="57" y="32"/>
                  </a:cubicBezTo>
                  <a:cubicBezTo>
                    <a:pt x="57" y="57"/>
                    <a:pt x="57" y="57"/>
                    <a:pt x="57" y="57"/>
                  </a:cubicBezTo>
                  <a:close/>
                  <a:moveTo>
                    <a:pt x="48" y="57"/>
                  </a:moveTo>
                  <a:cubicBezTo>
                    <a:pt x="54" y="57"/>
                    <a:pt x="54" y="57"/>
                    <a:pt x="54" y="57"/>
                  </a:cubicBezTo>
                  <a:cubicBezTo>
                    <a:pt x="54" y="46"/>
                    <a:pt x="54" y="46"/>
                    <a:pt x="54" y="46"/>
                  </a:cubicBezTo>
                  <a:cubicBezTo>
                    <a:pt x="48" y="46"/>
                    <a:pt x="48" y="46"/>
                    <a:pt x="48" y="46"/>
                  </a:cubicBezTo>
                  <a:cubicBezTo>
                    <a:pt x="48" y="57"/>
                    <a:pt x="48" y="57"/>
                    <a:pt x="48" y="57"/>
                  </a:cubicBezTo>
                  <a:close/>
                  <a:moveTo>
                    <a:pt x="39" y="57"/>
                  </a:moveTo>
                  <a:cubicBezTo>
                    <a:pt x="45" y="57"/>
                    <a:pt x="45" y="57"/>
                    <a:pt x="45" y="57"/>
                  </a:cubicBezTo>
                  <a:cubicBezTo>
                    <a:pt x="45" y="43"/>
                    <a:pt x="45" y="43"/>
                    <a:pt x="45" y="43"/>
                  </a:cubicBezTo>
                  <a:cubicBezTo>
                    <a:pt x="39" y="43"/>
                    <a:pt x="39" y="43"/>
                    <a:pt x="39" y="43"/>
                  </a:cubicBezTo>
                  <a:cubicBezTo>
                    <a:pt x="39" y="57"/>
                    <a:pt x="39" y="57"/>
                    <a:pt x="39" y="57"/>
                  </a:cubicBezTo>
                  <a:close/>
                  <a:moveTo>
                    <a:pt x="82" y="67"/>
                  </a:moveTo>
                  <a:cubicBezTo>
                    <a:pt x="82" y="59"/>
                    <a:pt x="81" y="50"/>
                    <a:pt x="80" y="42"/>
                  </a:cubicBezTo>
                  <a:cubicBezTo>
                    <a:pt x="78" y="41"/>
                    <a:pt x="75" y="41"/>
                    <a:pt x="73" y="41"/>
                  </a:cubicBezTo>
                  <a:cubicBezTo>
                    <a:pt x="72" y="55"/>
                    <a:pt x="73" y="68"/>
                    <a:pt x="72" y="82"/>
                  </a:cubicBezTo>
                  <a:cubicBezTo>
                    <a:pt x="70" y="77"/>
                    <a:pt x="68" y="73"/>
                    <a:pt x="61" y="71"/>
                  </a:cubicBezTo>
                  <a:cubicBezTo>
                    <a:pt x="60" y="73"/>
                    <a:pt x="59" y="73"/>
                    <a:pt x="58" y="75"/>
                  </a:cubicBezTo>
                  <a:cubicBezTo>
                    <a:pt x="62" y="80"/>
                    <a:pt x="65" y="87"/>
                    <a:pt x="66" y="93"/>
                  </a:cubicBezTo>
                  <a:cubicBezTo>
                    <a:pt x="68" y="107"/>
                    <a:pt x="68" y="107"/>
                    <a:pt x="68" y="107"/>
                  </a:cubicBezTo>
                  <a:cubicBezTo>
                    <a:pt x="69" y="110"/>
                    <a:pt x="71" y="114"/>
                    <a:pt x="73" y="117"/>
                  </a:cubicBezTo>
                  <a:cubicBezTo>
                    <a:pt x="82" y="116"/>
                    <a:pt x="89" y="116"/>
                    <a:pt x="99" y="116"/>
                  </a:cubicBezTo>
                  <a:cubicBezTo>
                    <a:pt x="99" y="114"/>
                    <a:pt x="100" y="112"/>
                    <a:pt x="101" y="110"/>
                  </a:cubicBezTo>
                  <a:cubicBezTo>
                    <a:pt x="103" y="99"/>
                    <a:pt x="105" y="78"/>
                    <a:pt x="105" y="67"/>
                  </a:cubicBezTo>
                  <a:cubicBezTo>
                    <a:pt x="102" y="67"/>
                    <a:pt x="101" y="66"/>
                    <a:pt x="98" y="66"/>
                  </a:cubicBezTo>
                  <a:cubicBezTo>
                    <a:pt x="98" y="67"/>
                    <a:pt x="97" y="72"/>
                    <a:pt x="97" y="73"/>
                  </a:cubicBezTo>
                  <a:cubicBezTo>
                    <a:pt x="97" y="69"/>
                    <a:pt x="97" y="65"/>
                    <a:pt x="97" y="61"/>
                  </a:cubicBezTo>
                  <a:cubicBezTo>
                    <a:pt x="94" y="61"/>
                    <a:pt x="92" y="61"/>
                    <a:pt x="90" y="60"/>
                  </a:cubicBezTo>
                  <a:cubicBezTo>
                    <a:pt x="90" y="61"/>
                    <a:pt x="90" y="62"/>
                    <a:pt x="89" y="63"/>
                  </a:cubicBezTo>
                  <a:cubicBezTo>
                    <a:pt x="89" y="62"/>
                    <a:pt x="89" y="60"/>
                    <a:pt x="89" y="58"/>
                  </a:cubicBezTo>
                  <a:cubicBezTo>
                    <a:pt x="87" y="58"/>
                    <a:pt x="85" y="58"/>
                    <a:pt x="83" y="58"/>
                  </a:cubicBezTo>
                  <a:cubicBezTo>
                    <a:pt x="83" y="61"/>
                    <a:pt x="83" y="64"/>
                    <a:pt x="82" y="67"/>
                  </a:cubicBezTo>
                  <a:close/>
                  <a:moveTo>
                    <a:pt x="3" y="31"/>
                  </a:moveTo>
                  <a:cubicBezTo>
                    <a:pt x="3" y="53"/>
                    <a:pt x="3" y="53"/>
                    <a:pt x="3" y="53"/>
                  </a:cubicBezTo>
                  <a:cubicBezTo>
                    <a:pt x="6" y="53"/>
                    <a:pt x="6" y="53"/>
                    <a:pt x="6" y="53"/>
                  </a:cubicBezTo>
                  <a:cubicBezTo>
                    <a:pt x="6" y="31"/>
                    <a:pt x="6" y="31"/>
                    <a:pt x="6" y="31"/>
                  </a:cubicBezTo>
                  <a:lnTo>
                    <a:pt x="3" y="31"/>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66" name="文本框 15"/>
          <p:cNvSpPr txBox="1">
            <a:spLocks noChangeArrowheads="1"/>
          </p:cNvSpPr>
          <p:nvPr/>
        </p:nvSpPr>
        <p:spPr bwMode="auto">
          <a:xfrm>
            <a:off x="6010920" y="2751753"/>
            <a:ext cx="45672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zh-CN" sz="2400" dirty="0">
                <a:solidFill>
                  <a:srgbClr val="197519"/>
                </a:solidFill>
                <a:latin typeface="Calibri" panose="020F0502020204030204" pitchFamily="34" charset="0"/>
                <a:cs typeface="Calibri" panose="020F0502020204030204" pitchFamily="34" charset="0"/>
              </a:rPr>
              <a:t>Process of Sustainability Audit</a:t>
            </a:r>
          </a:p>
        </p:txBody>
      </p:sp>
    </p:spTree>
  </p:cSld>
  <p:clrMapOvr>
    <a:masterClrMapping/>
  </p:clrMapOvr>
  <p:transition spd="slow">
    <p:randomBar dir="vert"/>
  </p:transition>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4" name="等腰三角形 33"/>
          <p:cNvSpPr>
            <a:spLocks noChangeArrowheads="1"/>
          </p:cNvSpPr>
          <p:nvPr/>
        </p:nvSpPr>
        <p:spPr bwMode="auto">
          <a:xfrm rot="9233090">
            <a:off x="11190288" y="6661150"/>
            <a:ext cx="120650" cy="104775"/>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5" name="等腰三角形 34"/>
          <p:cNvSpPr>
            <a:spLocks noChangeArrowheads="1"/>
          </p:cNvSpPr>
          <p:nvPr/>
        </p:nvSpPr>
        <p:spPr bwMode="auto">
          <a:xfrm rot="-6030424">
            <a:off x="10948194" y="6634956"/>
            <a:ext cx="180975" cy="157163"/>
          </a:xfrm>
          <a:prstGeom prst="triangle">
            <a:avLst>
              <a:gd name="adj" fmla="val 50000"/>
            </a:avLst>
          </a:prstGeom>
          <a:solidFill>
            <a:srgbClr val="309030"/>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9" name="等腰三角形 38"/>
          <p:cNvSpPr>
            <a:spLocks noChangeArrowheads="1"/>
          </p:cNvSpPr>
          <p:nvPr/>
        </p:nvSpPr>
        <p:spPr bwMode="auto">
          <a:xfrm rot="-228606">
            <a:off x="11403013" y="6643688"/>
            <a:ext cx="122237" cy="104775"/>
          </a:xfrm>
          <a:prstGeom prst="triangle">
            <a:avLst>
              <a:gd name="adj" fmla="val 50000"/>
            </a:avLst>
          </a:prstGeom>
          <a:solidFill>
            <a:srgbClr val="2B7E2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40" name="等腰三角形 39"/>
          <p:cNvSpPr>
            <a:spLocks noChangeArrowheads="1"/>
          </p:cNvSpPr>
          <p:nvPr/>
        </p:nvSpPr>
        <p:spPr bwMode="auto">
          <a:xfrm rot="-3389783">
            <a:off x="11143456" y="6571457"/>
            <a:ext cx="58737" cy="50800"/>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53" name="等腰三角形 52"/>
          <p:cNvSpPr>
            <a:spLocks noChangeArrowheads="1"/>
          </p:cNvSpPr>
          <p:nvPr/>
        </p:nvSpPr>
        <p:spPr bwMode="auto">
          <a:xfrm rot="8748521">
            <a:off x="11333163" y="6657975"/>
            <a:ext cx="58737" cy="49213"/>
          </a:xfrm>
          <a:prstGeom prst="triangle">
            <a:avLst>
              <a:gd name="adj" fmla="val 50000"/>
            </a:avLst>
          </a:prstGeom>
          <a:solidFill>
            <a:srgbClr val="559551"/>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48" name="等腰三角形 47"/>
          <p:cNvSpPr>
            <a:spLocks noChangeArrowheads="1"/>
          </p:cNvSpPr>
          <p:nvPr/>
        </p:nvSpPr>
        <p:spPr bwMode="auto">
          <a:xfrm>
            <a:off x="196850" y="360363"/>
            <a:ext cx="563563" cy="485775"/>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4" name="等腰三角形 53"/>
          <p:cNvSpPr>
            <a:spLocks noChangeArrowheads="1"/>
          </p:cNvSpPr>
          <p:nvPr/>
        </p:nvSpPr>
        <p:spPr bwMode="auto">
          <a:xfrm>
            <a:off x="760413" y="696913"/>
            <a:ext cx="265112" cy="228600"/>
          </a:xfrm>
          <a:prstGeom prst="triangle">
            <a:avLst>
              <a:gd name="adj" fmla="val 50000"/>
            </a:avLst>
          </a:prstGeom>
          <a:solidFill>
            <a:srgbClr val="197519">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6" name="等腰三角形 55"/>
          <p:cNvSpPr>
            <a:spLocks noChangeArrowheads="1"/>
          </p:cNvSpPr>
          <p:nvPr/>
        </p:nvSpPr>
        <p:spPr bwMode="auto">
          <a:xfrm flipH="1">
            <a:off x="630238" y="469900"/>
            <a:ext cx="85725" cy="74613"/>
          </a:xfrm>
          <a:prstGeom prst="triangle">
            <a:avLst>
              <a:gd name="adj" fmla="val 50000"/>
            </a:avLst>
          </a:prstGeom>
          <a:solidFill>
            <a:srgbClr val="197519">
              <a:alpha val="46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61" name="等腰三角形 60"/>
          <p:cNvSpPr>
            <a:spLocks noChangeArrowheads="1"/>
          </p:cNvSpPr>
          <p:nvPr/>
        </p:nvSpPr>
        <p:spPr bwMode="auto">
          <a:xfrm>
            <a:off x="833438" y="490538"/>
            <a:ext cx="177800" cy="152400"/>
          </a:xfrm>
          <a:prstGeom prst="triangle">
            <a:avLst>
              <a:gd name="adj" fmla="val 50000"/>
            </a:avLst>
          </a:prstGeom>
          <a:solidFill>
            <a:srgbClr val="197519">
              <a:alpha val="71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1" name="Rechteck 44"/>
          <p:cNvSpPr/>
          <p:nvPr/>
        </p:nvSpPr>
        <p:spPr>
          <a:xfrm>
            <a:off x="506095" y="1209789"/>
            <a:ext cx="11114405" cy="360000"/>
          </a:xfrm>
          <a:prstGeom prst="rect">
            <a:avLst/>
          </a:prstGeom>
          <a:solidFill>
            <a:srgbClr val="00B050"/>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2000" b="1" dirty="0">
                <a:solidFill>
                  <a:schemeClr val="bg1"/>
                </a:solidFill>
                <a:latin typeface="Daimler CS" pitchFamily="2" charset="0"/>
              </a:rPr>
              <a:t>Issue - based resolution</a:t>
            </a:r>
            <a:r>
              <a:rPr lang="en-US" altLang="de-DE" sz="2000" b="1" dirty="0">
                <a:solidFill>
                  <a:schemeClr val="bg1"/>
                </a:solidFill>
                <a:latin typeface="Daimler CS" pitchFamily="2" charset="0"/>
              </a:rPr>
              <a:t>:</a:t>
            </a:r>
            <a:r>
              <a:rPr lang="de-DE" sz="2000" b="1" dirty="0">
                <a:solidFill>
                  <a:schemeClr val="bg1"/>
                </a:solidFill>
                <a:latin typeface="Daimler CS" pitchFamily="2" charset="0"/>
              </a:rPr>
              <a:t> Liquid Management</a:t>
            </a:r>
          </a:p>
        </p:txBody>
      </p:sp>
      <p:sp>
        <p:nvSpPr>
          <p:cNvPr id="23" name="文本框 16"/>
          <p:cNvSpPr txBox="1">
            <a:spLocks noChangeArrowheads="1"/>
          </p:cNvSpPr>
          <p:nvPr/>
        </p:nvSpPr>
        <p:spPr bwMode="auto">
          <a:xfrm>
            <a:off x="1149351" y="436255"/>
            <a:ext cx="850125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zh-CN" sz="2400" b="1" dirty="0">
                <a:solidFill>
                  <a:srgbClr val="197519"/>
                </a:solidFill>
              </a:rPr>
              <a:t>Non-Conformance Findings and CAP</a:t>
            </a:r>
          </a:p>
        </p:txBody>
      </p:sp>
      <p:sp>
        <p:nvSpPr>
          <p:cNvPr id="24" name="Freeform 107"/>
          <p:cNvSpPr/>
          <p:nvPr/>
        </p:nvSpPr>
        <p:spPr bwMode="auto">
          <a:xfrm flipH="1">
            <a:off x="610870" y="1703070"/>
            <a:ext cx="5004435" cy="4821555"/>
          </a:xfrm>
          <a:prstGeom prst="roundRect">
            <a:avLst/>
          </a:prstGeom>
          <a:solidFill>
            <a:schemeClr val="bg2">
              <a:lumMod val="75000"/>
            </a:schemeClr>
          </a:solidFill>
          <a:ln>
            <a:noFill/>
          </a:ln>
          <a:effectLst>
            <a:outerShdw blurRad="50800" dist="38100" dir="2700000" algn="tl" rotWithShape="0">
              <a:prstClr val="black">
                <a:alpha val="40000"/>
              </a:prstClr>
            </a:outerShdw>
          </a:effectLst>
        </p:spPr>
        <p:txBody>
          <a:bodyPr/>
          <a:lstStyle/>
          <a:p>
            <a:r>
              <a:rPr lang="en-US" dirty="0">
                <a:latin typeface="Calibri" panose="020F0502020204030204" pitchFamily="34" charset="0"/>
                <a:cs typeface="Calibri" panose="020F0502020204030204" pitchFamily="34" charset="0"/>
              </a:rPr>
              <a:t>Non-Compliance Findings: </a:t>
            </a:r>
          </a:p>
          <a:p>
            <a:endParaRPr lang="en-US" dirty="0">
              <a:latin typeface="Calibri" panose="020F0502020204030204" pitchFamily="34" charset="0"/>
              <a:cs typeface="Calibri" panose="020F0502020204030204" pitchFamily="34" charset="0"/>
            </a:endParaRPr>
          </a:p>
          <a:p>
            <a:pPr marL="285750" lvl="0" indent="-285750" eaLnBrk="1" latinLnBrk="0" hangingPunct="1">
              <a:spcBef>
                <a:spcPts val="600"/>
              </a:spcBef>
              <a:spcAft>
                <a:spcPts val="600"/>
              </a:spcAft>
              <a:buFont typeface="Arial" panose="020B0604020202020204" pitchFamily="34" charset="0"/>
              <a:buChar char="•"/>
            </a:pPr>
            <a:r>
              <a:rPr lang="en-US" sz="2000" dirty="0">
                <a:latin typeface="Calibri" panose="020F0502020204030204" pitchFamily="34" charset="0"/>
                <a:cs typeface="Calibri" panose="020F0502020204030204" pitchFamily="34" charset="0"/>
              </a:rPr>
              <a:t>Liquid waste is inappropriately classified or recorded/tracked</a:t>
            </a:r>
          </a:p>
          <a:p>
            <a:pPr marL="285750" lvl="0" indent="-285750" eaLnBrk="1" latinLnBrk="0" hangingPunct="1">
              <a:spcBef>
                <a:spcPts val="600"/>
              </a:spcBef>
              <a:spcAft>
                <a:spcPts val="600"/>
              </a:spcAft>
              <a:buFont typeface="Arial" panose="020B0604020202020204" pitchFamily="34" charset="0"/>
              <a:buChar char="•"/>
            </a:pPr>
            <a:r>
              <a:rPr lang="en-US" sz="2000" dirty="0">
                <a:latin typeface="Calibri" panose="020F0502020204030204" pitchFamily="34" charset="0"/>
                <a:cs typeface="Calibri" panose="020F0502020204030204" pitchFamily="34" charset="0"/>
              </a:rPr>
              <a:t>Liquid waste is inappropriately separated from and disposed of as “stormwater” </a:t>
            </a:r>
          </a:p>
          <a:p>
            <a:pPr marL="285750" lvl="0" indent="-285750" eaLnBrk="1" latinLnBrk="0" hangingPunct="1">
              <a:spcBef>
                <a:spcPts val="600"/>
              </a:spcBef>
              <a:spcAft>
                <a:spcPts val="600"/>
              </a:spcAft>
              <a:buFont typeface="Arial" panose="020B0604020202020204" pitchFamily="34" charset="0"/>
              <a:buChar char="•"/>
            </a:pPr>
            <a:r>
              <a:rPr lang="en-US" sz="2000" dirty="0">
                <a:latin typeface="Calibri" panose="020F0502020204030204" pitchFamily="34" charset="0"/>
                <a:cs typeface="Calibri" panose="020F0502020204030204" pitchFamily="34" charset="0"/>
              </a:rPr>
              <a:t>Risk of leakage of liquid chemicals during storage and transportation due to inadequate maintenance of equipment</a:t>
            </a:r>
          </a:p>
        </p:txBody>
      </p:sp>
      <p:sp>
        <p:nvSpPr>
          <p:cNvPr id="25" name="Freeform 107"/>
          <p:cNvSpPr/>
          <p:nvPr/>
        </p:nvSpPr>
        <p:spPr bwMode="auto">
          <a:xfrm flipH="1">
            <a:off x="6333490" y="1727200"/>
            <a:ext cx="5364480" cy="4797425"/>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txBody>
          <a:bodyPr/>
          <a:lstStyle/>
          <a:p>
            <a:pPr marL="0" indent="0" eaLnBrk="1" latinLnBrk="0" hangingPunct="1">
              <a:spcBef>
                <a:spcPts val="600"/>
              </a:spcBef>
              <a:spcAft>
                <a:spcPts val="600"/>
              </a:spcAft>
              <a:buFont typeface="Wingdings" panose="05000000000000000000" pitchFamily="2" charset="2"/>
              <a:buNone/>
            </a:pPr>
            <a:r>
              <a:rPr lang="en-US" sz="2000" dirty="0">
                <a:latin typeface="Calibri" panose="020F0502020204030204" pitchFamily="34" charset="0"/>
                <a:cs typeface="Calibri" panose="020F0502020204030204" pitchFamily="34" charset="0"/>
              </a:rPr>
              <a:t>Possible Corrective Actions:</a:t>
            </a:r>
          </a:p>
          <a:p>
            <a:pPr marL="285750" indent="-285750" eaLnBrk="1" latinLnBrk="0" hangingPunct="1">
              <a:spcBef>
                <a:spcPts val="600"/>
              </a:spcBef>
              <a:spcAft>
                <a:spcPts val="600"/>
              </a:spcAft>
              <a:buFont typeface="Wingdings" panose="05000000000000000000" pitchFamily="2" charset="2"/>
              <a:buChar char="ü"/>
            </a:pPr>
            <a:r>
              <a:rPr lang="en-US" sz="2000" dirty="0">
                <a:latin typeface="Calibri" panose="020F0502020204030204" pitchFamily="34" charset="0"/>
                <a:cs typeface="Calibri" panose="020F0502020204030204" pitchFamily="34" charset="0"/>
              </a:rPr>
              <a:t>To investigate why the liquid waste was not appropriately classified and disposed</a:t>
            </a:r>
          </a:p>
          <a:p>
            <a:pPr marL="285750" indent="-285750" eaLnBrk="1" latinLnBrk="0" hangingPunct="1">
              <a:spcBef>
                <a:spcPts val="600"/>
              </a:spcBef>
              <a:spcAft>
                <a:spcPts val="600"/>
              </a:spcAft>
              <a:buFont typeface="Wingdings" panose="05000000000000000000" pitchFamily="2" charset="2"/>
              <a:buChar char="ü"/>
            </a:pPr>
            <a:r>
              <a:rPr lang="en-US" sz="2000" dirty="0">
                <a:latin typeface="Calibri" panose="020F0502020204030204" pitchFamily="34" charset="0"/>
                <a:cs typeface="Calibri" panose="020F0502020204030204" pitchFamily="34" charset="0"/>
              </a:rPr>
              <a:t>To write a ‘Lessons Learned’ notification to inform all engaged staff of this incident </a:t>
            </a:r>
          </a:p>
          <a:p>
            <a:pPr marL="285750" indent="-285750" eaLnBrk="1" latinLnBrk="0" hangingPunct="1">
              <a:spcBef>
                <a:spcPts val="600"/>
              </a:spcBef>
              <a:spcAft>
                <a:spcPts val="600"/>
              </a:spcAft>
              <a:buFont typeface="Wingdings" panose="05000000000000000000" pitchFamily="2" charset="2"/>
              <a:buChar char="ü"/>
            </a:pPr>
            <a:r>
              <a:rPr lang="en-US" sz="2000" dirty="0">
                <a:latin typeface="Calibri" panose="020F0502020204030204" pitchFamily="34" charset="0"/>
                <a:cs typeface="Calibri" panose="020F0502020204030204" pitchFamily="34" charset="0"/>
              </a:rPr>
              <a:t>To develop a trackable procedure including waste classifications, disposal and documentation requirements</a:t>
            </a:r>
          </a:p>
          <a:p>
            <a:pPr marL="285750" indent="-285750" eaLnBrk="1" latinLnBrk="0" hangingPunct="1">
              <a:spcBef>
                <a:spcPts val="600"/>
              </a:spcBef>
              <a:spcAft>
                <a:spcPts val="600"/>
              </a:spcAft>
              <a:buFont typeface="Wingdings" panose="05000000000000000000" pitchFamily="2" charset="2"/>
              <a:buChar char="ü"/>
            </a:pPr>
            <a:r>
              <a:rPr lang="en-US" sz="2000" dirty="0">
                <a:latin typeface="Calibri" panose="020F0502020204030204" pitchFamily="34" charset="0"/>
                <a:cs typeface="Calibri" panose="020F0502020204030204" pitchFamily="34" charset="0"/>
              </a:rPr>
              <a:t>To update Equipment/Asset management system and use scan code to stipulate the requirement for timely and adequate maintenance as part of KPI</a:t>
            </a:r>
          </a:p>
        </p:txBody>
      </p:sp>
    </p:spTree>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等腰三角形 2"/>
          <p:cNvSpPr/>
          <p:nvPr/>
        </p:nvSpPr>
        <p:spPr>
          <a:xfrm rot="21193842" flipH="1">
            <a:off x="803275" y="3829050"/>
            <a:ext cx="1209675" cy="311150"/>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nvGrpSpPr>
          <p:cNvPr id="5" name="组合 4"/>
          <p:cNvGrpSpPr/>
          <p:nvPr/>
        </p:nvGrpSpPr>
        <p:grpSpPr bwMode="auto">
          <a:xfrm>
            <a:off x="3509963" y="819150"/>
            <a:ext cx="5383212" cy="5383213"/>
            <a:chOff x="3510653" y="819764"/>
            <a:chExt cx="5383162" cy="5383162"/>
          </a:xfrm>
        </p:grpSpPr>
        <p:sp>
          <p:nvSpPr>
            <p:cNvPr id="9" name="椭圆 8"/>
            <p:cNvSpPr/>
            <p:nvPr/>
          </p:nvSpPr>
          <p:spPr>
            <a:xfrm>
              <a:off x="3605902" y="915013"/>
              <a:ext cx="5192664" cy="5192664"/>
            </a:xfrm>
            <a:prstGeom prst="ellips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10" name="Oval 8_1"/>
            <p:cNvSpPr/>
            <p:nvPr/>
          </p:nvSpPr>
          <p:spPr>
            <a:xfrm>
              <a:off x="3510653" y="819764"/>
              <a:ext cx="5383162" cy="5383162"/>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sp>
        <p:nvSpPr>
          <p:cNvPr id="15" name="等腰三角形 14"/>
          <p:cNvSpPr/>
          <p:nvPr/>
        </p:nvSpPr>
        <p:spPr>
          <a:xfrm rot="3183980" flipH="1">
            <a:off x="10719594" y="4098132"/>
            <a:ext cx="846137" cy="666750"/>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23" name="等腰三角形 22"/>
          <p:cNvSpPr/>
          <p:nvPr/>
        </p:nvSpPr>
        <p:spPr>
          <a:xfrm rot="3183980" flipH="1">
            <a:off x="2375694" y="3318669"/>
            <a:ext cx="176212" cy="152400"/>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24" name="等腰三角形 23"/>
          <p:cNvSpPr/>
          <p:nvPr/>
        </p:nvSpPr>
        <p:spPr>
          <a:xfrm rot="6200158" flipH="1" flipV="1">
            <a:off x="1385888" y="1203325"/>
            <a:ext cx="155575" cy="1374775"/>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25" name="等腰三角形 24"/>
          <p:cNvSpPr/>
          <p:nvPr/>
        </p:nvSpPr>
        <p:spPr>
          <a:xfrm rot="6315786" flipH="1" flipV="1">
            <a:off x="2879725" y="1503363"/>
            <a:ext cx="430213" cy="376237"/>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26" name="等腰三角形 25"/>
          <p:cNvSpPr/>
          <p:nvPr/>
        </p:nvSpPr>
        <p:spPr>
          <a:xfrm rot="5872073" flipH="1">
            <a:off x="1517650" y="2898775"/>
            <a:ext cx="635000" cy="127000"/>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27" name="等腰三角形 26"/>
          <p:cNvSpPr/>
          <p:nvPr/>
        </p:nvSpPr>
        <p:spPr>
          <a:xfrm rot="1864198" flipH="1">
            <a:off x="9001125" y="5603875"/>
            <a:ext cx="430213" cy="371475"/>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cxnSp>
        <p:nvCxnSpPr>
          <p:cNvPr id="29" name="直接连接符 28"/>
          <p:cNvCxnSpPr/>
          <p:nvPr/>
        </p:nvCxnSpPr>
        <p:spPr>
          <a:xfrm flipH="1">
            <a:off x="8893175" y="-1206500"/>
            <a:ext cx="2643188" cy="2641600"/>
          </a:xfrm>
          <a:prstGeom prst="line">
            <a:avLst/>
          </a:prstGeom>
          <a:ln w="31750">
            <a:solidFill>
              <a:srgbClr val="19751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flipH="1">
            <a:off x="8294688" y="-774700"/>
            <a:ext cx="2209800" cy="2209800"/>
          </a:xfrm>
          <a:prstGeom prst="line">
            <a:avLst/>
          </a:prstGeom>
          <a:ln w="31750">
            <a:solidFill>
              <a:srgbClr val="19751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flipH="1">
            <a:off x="1177925" y="5576888"/>
            <a:ext cx="2571750" cy="2487612"/>
          </a:xfrm>
          <a:prstGeom prst="line">
            <a:avLst/>
          </a:prstGeom>
          <a:ln w="31750">
            <a:solidFill>
              <a:srgbClr val="19751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flipH="1">
            <a:off x="579438" y="5892800"/>
            <a:ext cx="2251075" cy="2171700"/>
          </a:xfrm>
          <a:prstGeom prst="line">
            <a:avLst/>
          </a:prstGeom>
          <a:ln w="31750">
            <a:solidFill>
              <a:srgbClr val="197519"/>
            </a:solidFill>
          </a:ln>
        </p:spPr>
        <p:style>
          <a:lnRef idx="1">
            <a:schemeClr val="accent1"/>
          </a:lnRef>
          <a:fillRef idx="0">
            <a:schemeClr val="accent1"/>
          </a:fillRef>
          <a:effectRef idx="0">
            <a:schemeClr val="accent1"/>
          </a:effectRef>
          <a:fontRef idx="minor">
            <a:schemeClr val="tx1"/>
          </a:fontRef>
        </p:style>
      </p:cxnSp>
      <p:sp>
        <p:nvSpPr>
          <p:cNvPr id="36" name="等腰三角形 35"/>
          <p:cNvSpPr/>
          <p:nvPr/>
        </p:nvSpPr>
        <p:spPr>
          <a:xfrm rot="3183980" flipH="1">
            <a:off x="1797051" y="681037"/>
            <a:ext cx="531812" cy="195263"/>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37" name="等腰三角形 36"/>
          <p:cNvSpPr/>
          <p:nvPr/>
        </p:nvSpPr>
        <p:spPr>
          <a:xfrm rot="3183980" flipH="1">
            <a:off x="10621169" y="2005807"/>
            <a:ext cx="306387" cy="1676400"/>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38" name="等腰三角形 37"/>
          <p:cNvSpPr/>
          <p:nvPr/>
        </p:nvSpPr>
        <p:spPr>
          <a:xfrm rot="3183980" flipH="1">
            <a:off x="8289925" y="6321425"/>
            <a:ext cx="177800" cy="152400"/>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41" name="等腰三角形 40"/>
          <p:cNvSpPr/>
          <p:nvPr/>
        </p:nvSpPr>
        <p:spPr>
          <a:xfrm rot="6200158" flipH="1" flipV="1">
            <a:off x="10758488" y="4879975"/>
            <a:ext cx="155575" cy="1374775"/>
          </a:xfrm>
          <a:prstGeom prst="triangle">
            <a:avLst/>
          </a:pr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42" name="文本框 41"/>
          <p:cNvSpPr txBox="1">
            <a:spLocks noChangeArrowheads="1"/>
          </p:cNvSpPr>
          <p:nvPr/>
        </p:nvSpPr>
        <p:spPr bwMode="auto">
          <a:xfrm>
            <a:off x="4316413" y="1712913"/>
            <a:ext cx="3771900" cy="186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11500" dirty="0">
                <a:solidFill>
                  <a:schemeClr val="bg1"/>
                </a:solidFill>
              </a:rPr>
              <a:t>2022</a:t>
            </a:r>
            <a:endParaRPr lang="zh-CN" altLang="en-US" sz="11500" dirty="0">
              <a:solidFill>
                <a:schemeClr val="bg1"/>
              </a:solidFill>
            </a:endParaRPr>
          </a:p>
        </p:txBody>
      </p:sp>
      <p:sp>
        <p:nvSpPr>
          <p:cNvPr id="44" name="文本框 43"/>
          <p:cNvSpPr txBox="1">
            <a:spLocks noChangeArrowheads="1"/>
          </p:cNvSpPr>
          <p:nvPr/>
        </p:nvSpPr>
        <p:spPr bwMode="auto">
          <a:xfrm>
            <a:off x="4276725" y="3592513"/>
            <a:ext cx="3841750" cy="1753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3600">
                <a:solidFill>
                  <a:schemeClr val="bg1"/>
                </a:solidFill>
                <a:latin typeface="+mn-lt"/>
                <a:ea typeface="+mn-ea"/>
                <a:sym typeface="+mn-ea"/>
              </a:rPr>
              <a:t>THANK YOU FOR YOUR LISTENING</a:t>
            </a:r>
            <a:endParaRPr lang="zh-CN" altLang="en-US" sz="3600">
              <a:solidFill>
                <a:schemeClr val="bg1"/>
              </a:solidFill>
            </a:endParaRPr>
          </a:p>
        </p:txBody>
      </p:sp>
      <p:cxnSp>
        <p:nvCxnSpPr>
          <p:cNvPr id="47" name="直接连接符 46"/>
          <p:cNvCxnSpPr/>
          <p:nvPr/>
        </p:nvCxnSpPr>
        <p:spPr>
          <a:xfrm>
            <a:off x="4636770" y="3490913"/>
            <a:ext cx="29591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6" name="Text Placeholder 3"/>
          <p:cNvSpPr txBox="1">
            <a:spLocks noChangeArrowheads="1"/>
          </p:cNvSpPr>
          <p:nvPr/>
        </p:nvSpPr>
        <p:spPr bwMode="auto">
          <a:xfrm>
            <a:off x="1493838" y="2547938"/>
            <a:ext cx="1641475" cy="157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微软雅黑" panose="020B0503020204020204" pitchFamily="34" charset="-122"/>
                <a:ea typeface="微软雅黑" panose="020B0503020204020204" pitchFamily="34" charset="-122"/>
              </a:defRPr>
            </a:lvl1pPr>
            <a:lvl2pPr>
              <a:defRPr>
                <a:solidFill>
                  <a:schemeClr val="tx1"/>
                </a:solidFill>
                <a:latin typeface="微软雅黑" panose="020B0503020204020204" pitchFamily="34" charset="-122"/>
                <a:ea typeface="微软雅黑" panose="020B0503020204020204" pitchFamily="34" charset="-122"/>
              </a:defRPr>
            </a:lvl2pPr>
            <a:lvl3pPr>
              <a:defRPr>
                <a:solidFill>
                  <a:schemeClr val="tx1"/>
                </a:solidFill>
                <a:latin typeface="微软雅黑" panose="020B0503020204020204" pitchFamily="34" charset="-122"/>
                <a:ea typeface="微软雅黑" panose="020B0503020204020204" pitchFamily="34" charset="-122"/>
              </a:defRPr>
            </a:lvl3pPr>
            <a:lvl4pPr>
              <a:defRPr>
                <a:solidFill>
                  <a:schemeClr val="tx1"/>
                </a:solidFill>
                <a:latin typeface="微软雅黑" panose="020B0503020204020204" pitchFamily="34" charset="-122"/>
                <a:ea typeface="微软雅黑" panose="020B0503020204020204" pitchFamily="34" charset="-122"/>
              </a:defRPr>
            </a:lvl4pPr>
            <a:lvl5pPr>
              <a:defRPr>
                <a:solidFill>
                  <a:schemeClr val="tx1"/>
                </a:solidFill>
                <a:latin typeface="微软雅黑" panose="020B0503020204020204" pitchFamily="34" charset="-122"/>
                <a:ea typeface="微软雅黑" panose="020B0503020204020204" pitchFamily="34" charset="-122"/>
              </a:defRPr>
            </a:lvl5pPr>
            <a:lvl6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6pPr>
            <a:lvl7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7pPr>
            <a:lvl8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8pPr>
            <a:lvl9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9pPr>
          </a:lstStyle>
          <a:p>
            <a:pPr algn="ctr">
              <a:spcBef>
                <a:spcPct val="20000"/>
              </a:spcBef>
            </a:pPr>
            <a:r>
              <a:rPr lang="en-US" altLang="en-US" sz="11500" b="1" i="1">
                <a:solidFill>
                  <a:srgbClr val="197519"/>
                </a:solidFill>
              </a:rPr>
              <a:t>01</a:t>
            </a:r>
          </a:p>
        </p:txBody>
      </p:sp>
      <p:sp>
        <p:nvSpPr>
          <p:cNvPr id="17" name="文本框 16"/>
          <p:cNvSpPr txBox="1">
            <a:spLocks noChangeArrowheads="1"/>
          </p:cNvSpPr>
          <p:nvPr/>
        </p:nvSpPr>
        <p:spPr bwMode="auto">
          <a:xfrm>
            <a:off x="3183089" y="3416193"/>
            <a:ext cx="6854417" cy="521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zh-CN" sz="2800" b="1" dirty="0">
                <a:solidFill>
                  <a:srgbClr val="197519"/>
                </a:solidFill>
              </a:rPr>
              <a:t>What is Sustainability Audit? </a:t>
            </a:r>
          </a:p>
        </p:txBody>
      </p:sp>
      <p:sp>
        <p:nvSpPr>
          <p:cNvPr id="18" name="文本框 17"/>
          <p:cNvSpPr txBox="1">
            <a:spLocks noChangeArrowheads="1"/>
          </p:cNvSpPr>
          <p:nvPr/>
        </p:nvSpPr>
        <p:spPr bwMode="auto">
          <a:xfrm>
            <a:off x="3649663" y="2773363"/>
            <a:ext cx="159861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zh-CN" sz="3200" b="1" i="1" dirty="0">
                <a:solidFill>
                  <a:srgbClr val="197519"/>
                </a:solidFill>
              </a:rPr>
              <a:t>Part One</a:t>
            </a:r>
            <a:endParaRPr lang="zh-CN" altLang="en-US" sz="3200" b="1" i="1" dirty="0">
              <a:solidFill>
                <a:srgbClr val="197519"/>
              </a:solidFill>
              <a:ea typeface="Meiryo UI" pitchFamily="34" charset="-128"/>
              <a:cs typeface="Meiryo UI" pitchFamily="34" charset="-128"/>
            </a:endParaRPr>
          </a:p>
        </p:txBody>
      </p:sp>
      <p:sp>
        <p:nvSpPr>
          <p:cNvPr id="19" name="等腰三角形 18"/>
          <p:cNvSpPr>
            <a:spLocks noChangeArrowheads="1"/>
          </p:cNvSpPr>
          <p:nvPr/>
        </p:nvSpPr>
        <p:spPr bwMode="auto">
          <a:xfrm rot="9233090">
            <a:off x="9509125" y="2454275"/>
            <a:ext cx="266700" cy="230188"/>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20" name="等腰三角形 19"/>
          <p:cNvSpPr>
            <a:spLocks noChangeArrowheads="1"/>
          </p:cNvSpPr>
          <p:nvPr/>
        </p:nvSpPr>
        <p:spPr bwMode="auto">
          <a:xfrm rot="-6030424">
            <a:off x="9156700" y="3128963"/>
            <a:ext cx="396875" cy="342900"/>
          </a:xfrm>
          <a:prstGeom prst="triangle">
            <a:avLst>
              <a:gd name="adj" fmla="val 50000"/>
            </a:avLst>
          </a:prstGeom>
          <a:solidFill>
            <a:srgbClr val="309030"/>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21" name="等腰三角形 20"/>
          <p:cNvSpPr>
            <a:spLocks noChangeArrowheads="1"/>
          </p:cNvSpPr>
          <p:nvPr/>
        </p:nvSpPr>
        <p:spPr bwMode="auto">
          <a:xfrm rot="-228606">
            <a:off x="9024938" y="1804988"/>
            <a:ext cx="266700" cy="230187"/>
          </a:xfrm>
          <a:prstGeom prst="triangle">
            <a:avLst>
              <a:gd name="adj" fmla="val 50000"/>
            </a:avLst>
          </a:prstGeom>
          <a:solidFill>
            <a:srgbClr val="2B7E2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grpSp>
        <p:nvGrpSpPr>
          <p:cNvPr id="5" name="组合 4"/>
          <p:cNvGrpSpPr/>
          <p:nvPr/>
        </p:nvGrpSpPr>
        <p:grpSpPr bwMode="auto">
          <a:xfrm>
            <a:off x="9934575" y="3132138"/>
            <a:ext cx="1435100" cy="1309687"/>
            <a:chOff x="9933940" y="3132138"/>
            <a:chExt cx="1435100" cy="1309686"/>
          </a:xfrm>
        </p:grpSpPr>
        <p:sp>
          <p:nvSpPr>
            <p:cNvPr id="7176" name="等腰三角形 22"/>
            <p:cNvSpPr>
              <a:spLocks noChangeArrowheads="1"/>
            </p:cNvSpPr>
            <p:nvPr/>
          </p:nvSpPr>
          <p:spPr bwMode="auto">
            <a:xfrm rot="-8687839">
              <a:off x="9933940" y="3427412"/>
              <a:ext cx="1176338" cy="1014412"/>
            </a:xfrm>
            <a:prstGeom prst="triangle">
              <a:avLst>
                <a:gd name="adj" fmla="val 50000"/>
              </a:avLst>
            </a:prstGeom>
            <a:noFill/>
            <a:ln w="12700">
              <a:solidFill>
                <a:srgbClr val="197519"/>
              </a:solidFill>
              <a:miter lim="800000"/>
            </a:ln>
            <a:extLst>
              <a:ext uri="{909E8E84-426E-40DD-AFC4-6F175D3DCCD1}">
                <a14:hiddenFill xmlns:a14="http://schemas.microsoft.com/office/drawing/2010/main">
                  <a:solidFill>
                    <a:srgbClr val="FFFFFF"/>
                  </a:solidFill>
                </a14:hiddenFill>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grpSp>
          <p:nvGrpSpPr>
            <p:cNvPr id="7177" name="组合 2"/>
            <p:cNvGrpSpPr/>
            <p:nvPr/>
          </p:nvGrpSpPr>
          <p:grpSpPr bwMode="auto">
            <a:xfrm>
              <a:off x="10065703" y="3132138"/>
              <a:ext cx="1303337" cy="1279524"/>
              <a:chOff x="10065703" y="3132138"/>
              <a:chExt cx="1303337" cy="1279524"/>
            </a:xfrm>
          </p:grpSpPr>
          <p:sp>
            <p:nvSpPr>
              <p:cNvPr id="7178" name="等腰三角形 21"/>
              <p:cNvSpPr>
                <a:spLocks noChangeArrowheads="1"/>
              </p:cNvSpPr>
              <p:nvPr/>
            </p:nvSpPr>
            <p:spPr bwMode="auto">
              <a:xfrm rot="-8687839">
                <a:off x="10065703" y="3487738"/>
                <a:ext cx="944562" cy="815975"/>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grpSp>
            <p:nvGrpSpPr>
              <p:cNvPr id="7179" name="组合 1"/>
              <p:cNvGrpSpPr/>
              <p:nvPr/>
            </p:nvGrpSpPr>
            <p:grpSpPr bwMode="auto">
              <a:xfrm>
                <a:off x="10165715" y="3132138"/>
                <a:ext cx="1203325" cy="1279524"/>
                <a:chOff x="10165715" y="3132138"/>
                <a:chExt cx="1203325" cy="1279524"/>
              </a:xfrm>
            </p:grpSpPr>
            <p:sp>
              <p:nvSpPr>
                <p:cNvPr id="7180" name="椭圆 23"/>
                <p:cNvSpPr>
                  <a:spLocks noChangeArrowheads="1"/>
                </p:cNvSpPr>
                <p:nvPr/>
              </p:nvSpPr>
              <p:spPr bwMode="auto">
                <a:xfrm rot="9110320">
                  <a:off x="11254740" y="3792538"/>
                  <a:ext cx="114300" cy="115887"/>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sp>
              <p:nvSpPr>
                <p:cNvPr id="7181" name="椭圆 24"/>
                <p:cNvSpPr>
                  <a:spLocks noChangeArrowheads="1"/>
                </p:cNvSpPr>
                <p:nvPr/>
              </p:nvSpPr>
              <p:spPr bwMode="auto">
                <a:xfrm rot="9110320">
                  <a:off x="10165715" y="4295774"/>
                  <a:ext cx="115888" cy="115888"/>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sp>
              <p:nvSpPr>
                <p:cNvPr id="7182" name="椭圆 25"/>
                <p:cNvSpPr>
                  <a:spLocks noChangeArrowheads="1"/>
                </p:cNvSpPr>
                <p:nvPr/>
              </p:nvSpPr>
              <p:spPr bwMode="auto">
                <a:xfrm rot="9110320">
                  <a:off x="10283190" y="3132138"/>
                  <a:ext cx="114300" cy="115887"/>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grpSp>
        </p:grpSp>
      </p:grpSp>
      <p:sp>
        <p:nvSpPr>
          <p:cNvPr id="27" name="等腰三角形 26"/>
          <p:cNvSpPr>
            <a:spLocks noChangeArrowheads="1"/>
          </p:cNvSpPr>
          <p:nvPr/>
        </p:nvSpPr>
        <p:spPr bwMode="auto">
          <a:xfrm rot="-3389783">
            <a:off x="8616157" y="2162969"/>
            <a:ext cx="127000" cy="109537"/>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28" name="等腰三角形 27"/>
          <p:cNvSpPr>
            <a:spLocks noChangeArrowheads="1"/>
          </p:cNvSpPr>
          <p:nvPr/>
        </p:nvSpPr>
        <p:spPr bwMode="auto">
          <a:xfrm rot="8748521">
            <a:off x="8974138" y="2314575"/>
            <a:ext cx="128587" cy="109538"/>
          </a:xfrm>
          <a:prstGeom prst="triangle">
            <a:avLst>
              <a:gd name="adj" fmla="val 50000"/>
            </a:avLst>
          </a:prstGeom>
          <a:solidFill>
            <a:srgbClr val="559551"/>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cxnSp>
        <p:nvCxnSpPr>
          <p:cNvPr id="2063" name="Straight Connector 13"/>
          <p:cNvCxnSpPr>
            <a:cxnSpLocks noChangeShapeType="1"/>
          </p:cNvCxnSpPr>
          <p:nvPr/>
        </p:nvCxnSpPr>
        <p:spPr bwMode="auto">
          <a:xfrm flipH="1">
            <a:off x="1417638" y="4110038"/>
            <a:ext cx="7208837" cy="0"/>
          </a:xfrm>
          <a:prstGeom prst="line">
            <a:avLst/>
          </a:prstGeom>
          <a:noFill/>
          <a:ln w="19050" cap="sq">
            <a:solidFill>
              <a:srgbClr val="197519"/>
            </a:solidFill>
            <a:miter lim="800000"/>
            <a:headEnd type="oval" w="med" len="med"/>
          </a:ln>
          <a:extLst>
            <a:ext uri="{909E8E84-426E-40DD-AFC4-6F175D3DCCD1}">
              <a14:hiddenFill xmlns:a14="http://schemas.microsoft.com/office/drawing/2010/main">
                <a:noFill/>
              </a14:hiddenFill>
            </a:ext>
          </a:extLst>
        </p:spPr>
      </p:cxnSp>
    </p:spTree>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9" name="等腰三角形 38"/>
          <p:cNvSpPr>
            <a:spLocks noChangeArrowheads="1"/>
          </p:cNvSpPr>
          <p:nvPr/>
        </p:nvSpPr>
        <p:spPr bwMode="auto">
          <a:xfrm rot="9233090">
            <a:off x="11147425" y="6661150"/>
            <a:ext cx="120650" cy="104775"/>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40" name="等腰三角形 39"/>
          <p:cNvSpPr>
            <a:spLocks noChangeArrowheads="1"/>
          </p:cNvSpPr>
          <p:nvPr/>
        </p:nvSpPr>
        <p:spPr bwMode="auto">
          <a:xfrm rot="-6030424">
            <a:off x="10905331" y="6634957"/>
            <a:ext cx="180975" cy="157162"/>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41" name="等腰三角形 40"/>
          <p:cNvSpPr>
            <a:spLocks noChangeArrowheads="1"/>
          </p:cNvSpPr>
          <p:nvPr/>
        </p:nvSpPr>
        <p:spPr bwMode="auto">
          <a:xfrm rot="-228606">
            <a:off x="11360150" y="6643688"/>
            <a:ext cx="122238" cy="104775"/>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42" name="等腰三角形 41"/>
          <p:cNvSpPr>
            <a:spLocks noChangeArrowheads="1"/>
          </p:cNvSpPr>
          <p:nvPr/>
        </p:nvSpPr>
        <p:spPr bwMode="auto">
          <a:xfrm rot="-3389783">
            <a:off x="11100594" y="6571457"/>
            <a:ext cx="58737" cy="50800"/>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43" name="等腰三角形 42"/>
          <p:cNvSpPr>
            <a:spLocks noChangeArrowheads="1"/>
          </p:cNvSpPr>
          <p:nvPr/>
        </p:nvSpPr>
        <p:spPr bwMode="auto">
          <a:xfrm rot="8748521">
            <a:off x="11290300" y="6657975"/>
            <a:ext cx="58738" cy="49213"/>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4" name="弧形 3"/>
          <p:cNvSpPr/>
          <p:nvPr/>
        </p:nvSpPr>
        <p:spPr>
          <a:xfrm>
            <a:off x="749300" y="1665288"/>
            <a:ext cx="4248150" cy="4602162"/>
          </a:xfrm>
          <a:prstGeom prst="arc">
            <a:avLst>
              <a:gd name="adj1" fmla="val 17337751"/>
              <a:gd name="adj2" fmla="val 4126310"/>
            </a:avLst>
          </a:prstGeom>
          <a:ln w="66675">
            <a:solidFill>
              <a:srgbClr val="197519"/>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endParaRPr lang="zh-CN" altLang="en-US" noProof="1"/>
          </a:p>
        </p:txBody>
      </p:sp>
      <p:sp>
        <p:nvSpPr>
          <p:cNvPr id="50" name="Arc 3_1"/>
          <p:cNvSpPr/>
          <p:nvPr/>
        </p:nvSpPr>
        <p:spPr>
          <a:xfrm flipH="1">
            <a:off x="95250" y="1665288"/>
            <a:ext cx="4248150" cy="4602162"/>
          </a:xfrm>
          <a:prstGeom prst="arc">
            <a:avLst>
              <a:gd name="adj1" fmla="val 17337751"/>
              <a:gd name="adj2" fmla="val 4126310"/>
            </a:avLst>
          </a:prstGeom>
          <a:ln w="66675">
            <a:solidFill>
              <a:srgbClr val="197519"/>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endParaRPr lang="zh-CN" altLang="en-US" noProof="1"/>
          </a:p>
        </p:txBody>
      </p:sp>
      <p:sp>
        <p:nvSpPr>
          <p:cNvPr id="6" name="矩形 5"/>
          <p:cNvSpPr>
            <a:spLocks noChangeArrowheads="1"/>
          </p:cNvSpPr>
          <p:nvPr/>
        </p:nvSpPr>
        <p:spPr bwMode="auto">
          <a:xfrm>
            <a:off x="5756275" y="2051050"/>
            <a:ext cx="6038215" cy="1245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latinLnBrk="1">
              <a:lnSpc>
                <a:spcPct val="125000"/>
              </a:lnSpc>
            </a:pPr>
            <a:r>
              <a:rPr lang="zh-CN" altLang="en-US" sz="2000" dirty="0">
                <a:solidFill>
                  <a:srgbClr val="404040"/>
                </a:solidFill>
                <a:latin typeface="Calibri" panose="020F0502020204030204" pitchFamily="34" charset="0"/>
                <a:cs typeface="Calibri" panose="020F0502020204030204" pitchFamily="34" charset="0"/>
              </a:rPr>
              <a:t>GBP set out guiding principles on integrity and ethics in </a:t>
            </a:r>
            <a:r>
              <a:rPr lang="en-US" altLang="zh-CN" sz="2000" dirty="0">
                <a:solidFill>
                  <a:srgbClr val="404040"/>
                </a:solidFill>
                <a:latin typeface="Calibri" panose="020F0502020204030204" pitchFamily="34" charset="0"/>
                <a:cs typeface="Calibri" panose="020F0502020204030204" pitchFamily="34" charset="0"/>
              </a:rPr>
              <a:t>business</a:t>
            </a:r>
            <a:r>
              <a:rPr lang="zh-CN" altLang="en-US" sz="2000" dirty="0">
                <a:solidFill>
                  <a:srgbClr val="404040"/>
                </a:solidFill>
                <a:latin typeface="Calibri" panose="020F0502020204030204" pitchFamily="34" charset="0"/>
                <a:cs typeface="Calibri" panose="020F0502020204030204" pitchFamily="34" charset="0"/>
              </a:rPr>
              <a:t> conduct, including those that help create a sus</a:t>
            </a:r>
            <a:r>
              <a:rPr lang="en-US" altLang="zh-CN" sz="2000" dirty="0">
                <a:solidFill>
                  <a:srgbClr val="404040"/>
                </a:solidFill>
                <a:latin typeface="Calibri" panose="020F0502020204030204" pitchFamily="34" charset="0"/>
                <a:cs typeface="Calibri" panose="020F0502020204030204" pitchFamily="34" charset="0"/>
              </a:rPr>
              <a:t>-</a:t>
            </a:r>
            <a:r>
              <a:rPr lang="zh-CN" altLang="en-US" sz="2000" dirty="0">
                <a:solidFill>
                  <a:srgbClr val="404040"/>
                </a:solidFill>
                <a:latin typeface="Calibri" panose="020F0502020204030204" pitchFamily="34" charset="0"/>
                <a:cs typeface="Calibri" panose="020F0502020204030204" pitchFamily="34" charset="0"/>
              </a:rPr>
              <a:t>tainable supply chain.</a:t>
            </a:r>
          </a:p>
        </p:txBody>
      </p:sp>
      <p:sp>
        <p:nvSpPr>
          <p:cNvPr id="32" name="矩形 31"/>
          <p:cNvSpPr>
            <a:spLocks noChangeArrowheads="1"/>
          </p:cNvSpPr>
          <p:nvPr/>
        </p:nvSpPr>
        <p:spPr bwMode="auto">
          <a:xfrm>
            <a:off x="5765800" y="5484813"/>
            <a:ext cx="5936673" cy="833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latinLnBrk="1">
              <a:lnSpc>
                <a:spcPct val="125000"/>
              </a:lnSpc>
            </a:pPr>
            <a:r>
              <a:rPr lang="en-US" altLang="zh-CN" sz="2000" dirty="0">
                <a:solidFill>
                  <a:srgbClr val="404040"/>
                </a:solidFill>
                <a:latin typeface="Calibri" panose="020F0502020204030204" pitchFamily="34" charset="0"/>
                <a:cs typeface="Calibri" panose="020F0502020204030204" pitchFamily="34" charset="0"/>
              </a:rPr>
              <a:t>Supplier Sustainability Audit has been put in place. The audit reflects Buyer’s expectations of suppliers.</a:t>
            </a:r>
            <a:endParaRPr lang="zh-CN" altLang="en-US" sz="2000" dirty="0">
              <a:solidFill>
                <a:srgbClr val="404040"/>
              </a:solidFill>
              <a:latin typeface="Calibri" panose="020F0502020204030204" pitchFamily="34" charset="0"/>
              <a:cs typeface="Calibri" panose="020F0502020204030204" pitchFamily="34" charset="0"/>
            </a:endParaRPr>
          </a:p>
        </p:txBody>
      </p:sp>
      <p:sp>
        <p:nvSpPr>
          <p:cNvPr id="2" name="椭圆 1"/>
          <p:cNvSpPr>
            <a:spLocks noChangeArrowheads="1"/>
          </p:cNvSpPr>
          <p:nvPr/>
        </p:nvSpPr>
        <p:spPr bwMode="auto">
          <a:xfrm>
            <a:off x="385763" y="1803400"/>
            <a:ext cx="4297362" cy="4298950"/>
          </a:xfrm>
          <a:prstGeom prst="ellipse">
            <a:avLst/>
          </a:prstGeom>
          <a:solidFill>
            <a:srgbClr val="197519"/>
          </a:solidFill>
          <a:ln>
            <a:noFill/>
          </a:ln>
          <a:extLst>
            <a:ext uri="{91240B29-F687-4F45-9708-019B960494DF}">
              <a14:hiddenLine xmlns:a14="http://schemas.microsoft.com/office/drawing/2010/main" w="9525">
                <a:solidFill>
                  <a:srgbClr val="000000"/>
                </a:solidFill>
                <a:round/>
              </a14:hiddenLine>
            </a:ext>
          </a:extLst>
        </p:spPr>
        <p:txBody>
          <a:bodyPr/>
          <a:lstStyle/>
          <a:p>
            <a:pPr algn="ctr"/>
            <a:endParaRPr lang="zh-CN" altLang="en-US"/>
          </a:p>
        </p:txBody>
      </p:sp>
      <p:sp>
        <p:nvSpPr>
          <p:cNvPr id="34" name="Freeform 5"/>
          <p:cNvSpPr>
            <a:spLocks noEditPoints="1" noChangeArrowheads="1"/>
          </p:cNvSpPr>
          <p:nvPr/>
        </p:nvSpPr>
        <p:spPr bwMode="auto">
          <a:xfrm>
            <a:off x="1717358" y="2630170"/>
            <a:ext cx="1636712" cy="1395413"/>
          </a:xfrm>
          <a:custGeom>
            <a:avLst/>
            <a:gdLst>
              <a:gd name="T0" fmla="*/ 20 w 86"/>
              <a:gd name="T1" fmla="*/ 2 h 70"/>
              <a:gd name="T2" fmla="*/ 60 w 86"/>
              <a:gd name="T3" fmla="*/ 2 h 70"/>
              <a:gd name="T4" fmla="*/ 80 w 86"/>
              <a:gd name="T5" fmla="*/ 6 h 70"/>
              <a:gd name="T6" fmla="*/ 74 w 86"/>
              <a:gd name="T7" fmla="*/ 26 h 70"/>
              <a:gd name="T8" fmla="*/ 59 w 86"/>
              <a:gd name="T9" fmla="*/ 8 h 70"/>
              <a:gd name="T10" fmla="*/ 43 w 86"/>
              <a:gd name="T11" fmla="*/ 54 h 70"/>
              <a:gd name="T12" fmla="*/ 49 w 86"/>
              <a:gd name="T13" fmla="*/ 58 h 70"/>
              <a:gd name="T14" fmla="*/ 50 w 86"/>
              <a:gd name="T15" fmla="*/ 59 h 70"/>
              <a:gd name="T16" fmla="*/ 40 w 86"/>
              <a:gd name="T17" fmla="*/ 60 h 70"/>
              <a:gd name="T18" fmla="*/ 22 w 86"/>
              <a:gd name="T19" fmla="*/ 60 h 70"/>
              <a:gd name="T20" fmla="*/ 0 w 86"/>
              <a:gd name="T21" fmla="*/ 58 h 70"/>
              <a:gd name="T22" fmla="*/ 3 w 86"/>
              <a:gd name="T23" fmla="*/ 3 h 70"/>
              <a:gd name="T24" fmla="*/ 59 w 86"/>
              <a:gd name="T25" fmla="*/ 37 h 70"/>
              <a:gd name="T26" fmla="*/ 57 w 86"/>
              <a:gd name="T27" fmla="*/ 51 h 70"/>
              <a:gd name="T28" fmla="*/ 72 w 86"/>
              <a:gd name="T29" fmla="*/ 53 h 70"/>
              <a:gd name="T30" fmla="*/ 74 w 86"/>
              <a:gd name="T31" fmla="*/ 39 h 70"/>
              <a:gd name="T32" fmla="*/ 56 w 86"/>
              <a:gd name="T33" fmla="*/ 33 h 70"/>
              <a:gd name="T34" fmla="*/ 53 w 86"/>
              <a:gd name="T35" fmla="*/ 55 h 70"/>
              <a:gd name="T36" fmla="*/ 73 w 86"/>
              <a:gd name="T37" fmla="*/ 59 h 70"/>
              <a:gd name="T38" fmla="*/ 79 w 86"/>
              <a:gd name="T39" fmla="*/ 68 h 70"/>
              <a:gd name="T40" fmla="*/ 84 w 86"/>
              <a:gd name="T41" fmla="*/ 69 h 70"/>
              <a:gd name="T42" fmla="*/ 80 w 86"/>
              <a:gd name="T43" fmla="*/ 57 h 70"/>
              <a:gd name="T44" fmla="*/ 81 w 86"/>
              <a:gd name="T45" fmla="*/ 47 h 70"/>
              <a:gd name="T46" fmla="*/ 67 w 86"/>
              <a:gd name="T47" fmla="*/ 29 h 70"/>
              <a:gd name="T48" fmla="*/ 58 w 86"/>
              <a:gd name="T49" fmla="*/ 46 h 70"/>
              <a:gd name="T50" fmla="*/ 58 w 86"/>
              <a:gd name="T51" fmla="*/ 46 h 70"/>
              <a:gd name="T52" fmla="*/ 47 w 86"/>
              <a:gd name="T53" fmla="*/ 19 h 70"/>
              <a:gd name="T54" fmla="*/ 71 w 86"/>
              <a:gd name="T55" fmla="*/ 24 h 70"/>
              <a:gd name="T56" fmla="*/ 71 w 86"/>
              <a:gd name="T57" fmla="*/ 15 h 70"/>
              <a:gd name="T58" fmla="*/ 47 w 86"/>
              <a:gd name="T59" fmla="*/ 14 h 70"/>
              <a:gd name="T60" fmla="*/ 71 w 86"/>
              <a:gd name="T61" fmla="*/ 15 h 70"/>
              <a:gd name="T62" fmla="*/ 10 w 86"/>
              <a:gd name="T63" fmla="*/ 51 h 70"/>
              <a:gd name="T64" fmla="*/ 34 w 86"/>
              <a:gd name="T65" fmla="*/ 46 h 70"/>
              <a:gd name="T66" fmla="*/ 10 w 86"/>
              <a:gd name="T67" fmla="*/ 41 h 70"/>
              <a:gd name="T68" fmla="*/ 34 w 86"/>
              <a:gd name="T69" fmla="*/ 41 h 70"/>
              <a:gd name="T70" fmla="*/ 10 w 86"/>
              <a:gd name="T71" fmla="*/ 41 h 70"/>
              <a:gd name="T72" fmla="*/ 10 w 86"/>
              <a:gd name="T73" fmla="*/ 37 h 70"/>
              <a:gd name="T74" fmla="*/ 34 w 86"/>
              <a:gd name="T75" fmla="*/ 32 h 70"/>
              <a:gd name="T76" fmla="*/ 22 w 86"/>
              <a:gd name="T77" fmla="*/ 25 h 70"/>
              <a:gd name="T78" fmla="*/ 34 w 86"/>
              <a:gd name="T79" fmla="*/ 27 h 70"/>
              <a:gd name="T80" fmla="*/ 22 w 86"/>
              <a:gd name="T81" fmla="*/ 25 h 70"/>
              <a:gd name="T82" fmla="*/ 22 w 86"/>
              <a:gd name="T83" fmla="*/ 21 h 70"/>
              <a:gd name="T84" fmla="*/ 34 w 86"/>
              <a:gd name="T85" fmla="*/ 18 h 70"/>
              <a:gd name="T86" fmla="*/ 22 w 86"/>
              <a:gd name="T87" fmla="*/ 14 h 70"/>
              <a:gd name="T88" fmla="*/ 34 w 86"/>
              <a:gd name="T89" fmla="*/ 15 h 70"/>
              <a:gd name="T90" fmla="*/ 22 w 86"/>
              <a:gd name="T91" fmla="*/ 14 h 70"/>
              <a:gd name="T92" fmla="*/ 9 w 86"/>
              <a:gd name="T93" fmla="*/ 31 h 70"/>
              <a:gd name="T94" fmla="*/ 19 w 86"/>
              <a:gd name="T95" fmla="*/ 13 h 70"/>
              <a:gd name="T96" fmla="*/ 21 w 86"/>
              <a:gd name="T97" fmla="*/ 8 h 70"/>
              <a:gd name="T98" fmla="*/ 5 w 86"/>
              <a:gd name="T99" fmla="*/ 56 h 70"/>
              <a:gd name="T100" fmla="*/ 37 w 86"/>
              <a:gd name="T101" fmla="*/ 54 h 70"/>
              <a:gd name="T102" fmla="*/ 21 w 86"/>
              <a:gd name="T103" fmla="*/ 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70">
                <a:moveTo>
                  <a:pt x="3" y="3"/>
                </a:moveTo>
                <a:cubicBezTo>
                  <a:pt x="8" y="4"/>
                  <a:pt x="14" y="3"/>
                  <a:pt x="20" y="2"/>
                </a:cubicBezTo>
                <a:cubicBezTo>
                  <a:pt x="28" y="1"/>
                  <a:pt x="35" y="0"/>
                  <a:pt x="40" y="3"/>
                </a:cubicBezTo>
                <a:cubicBezTo>
                  <a:pt x="45" y="0"/>
                  <a:pt x="52" y="1"/>
                  <a:pt x="60" y="2"/>
                </a:cubicBezTo>
                <a:cubicBezTo>
                  <a:pt x="65" y="3"/>
                  <a:pt x="72" y="4"/>
                  <a:pt x="77" y="3"/>
                </a:cubicBezTo>
                <a:cubicBezTo>
                  <a:pt x="80" y="6"/>
                  <a:pt x="80" y="6"/>
                  <a:pt x="80" y="6"/>
                </a:cubicBezTo>
                <a:cubicBezTo>
                  <a:pt x="80" y="30"/>
                  <a:pt x="80" y="30"/>
                  <a:pt x="80" y="30"/>
                </a:cubicBezTo>
                <a:cubicBezTo>
                  <a:pt x="78" y="28"/>
                  <a:pt x="76" y="27"/>
                  <a:pt x="74" y="26"/>
                </a:cubicBezTo>
                <a:cubicBezTo>
                  <a:pt x="74" y="9"/>
                  <a:pt x="74" y="9"/>
                  <a:pt x="74" y="9"/>
                </a:cubicBezTo>
                <a:cubicBezTo>
                  <a:pt x="69" y="9"/>
                  <a:pt x="64" y="8"/>
                  <a:pt x="59" y="8"/>
                </a:cubicBezTo>
                <a:cubicBezTo>
                  <a:pt x="52" y="7"/>
                  <a:pt x="46" y="6"/>
                  <a:pt x="43" y="8"/>
                </a:cubicBezTo>
                <a:cubicBezTo>
                  <a:pt x="43" y="54"/>
                  <a:pt x="43" y="54"/>
                  <a:pt x="43" y="54"/>
                </a:cubicBezTo>
                <a:cubicBezTo>
                  <a:pt x="44" y="54"/>
                  <a:pt x="45" y="54"/>
                  <a:pt x="47" y="54"/>
                </a:cubicBezTo>
                <a:cubicBezTo>
                  <a:pt x="47" y="55"/>
                  <a:pt x="48" y="56"/>
                  <a:pt x="49" y="58"/>
                </a:cubicBezTo>
                <a:cubicBezTo>
                  <a:pt x="50" y="58"/>
                  <a:pt x="50" y="59"/>
                  <a:pt x="51" y="59"/>
                </a:cubicBezTo>
                <a:cubicBezTo>
                  <a:pt x="50" y="59"/>
                  <a:pt x="50" y="59"/>
                  <a:pt x="50" y="59"/>
                </a:cubicBezTo>
                <a:cubicBezTo>
                  <a:pt x="46" y="59"/>
                  <a:pt x="43" y="59"/>
                  <a:pt x="41" y="60"/>
                </a:cubicBezTo>
                <a:cubicBezTo>
                  <a:pt x="40" y="60"/>
                  <a:pt x="40" y="60"/>
                  <a:pt x="40" y="60"/>
                </a:cubicBezTo>
                <a:cubicBezTo>
                  <a:pt x="38" y="60"/>
                  <a:pt x="38" y="60"/>
                  <a:pt x="38" y="60"/>
                </a:cubicBezTo>
                <a:cubicBezTo>
                  <a:pt x="36" y="59"/>
                  <a:pt x="29" y="59"/>
                  <a:pt x="22" y="60"/>
                </a:cubicBezTo>
                <a:cubicBezTo>
                  <a:pt x="15" y="61"/>
                  <a:pt x="8" y="62"/>
                  <a:pt x="2" y="61"/>
                </a:cubicBezTo>
                <a:cubicBezTo>
                  <a:pt x="0" y="58"/>
                  <a:pt x="0" y="58"/>
                  <a:pt x="0" y="58"/>
                </a:cubicBezTo>
                <a:cubicBezTo>
                  <a:pt x="0" y="6"/>
                  <a:pt x="0" y="6"/>
                  <a:pt x="0" y="6"/>
                </a:cubicBezTo>
                <a:cubicBezTo>
                  <a:pt x="3" y="3"/>
                  <a:pt x="3" y="3"/>
                  <a:pt x="3" y="3"/>
                </a:cubicBezTo>
                <a:close/>
                <a:moveTo>
                  <a:pt x="67" y="35"/>
                </a:moveTo>
                <a:cubicBezTo>
                  <a:pt x="64" y="34"/>
                  <a:pt x="61" y="35"/>
                  <a:pt x="59" y="37"/>
                </a:cubicBezTo>
                <a:cubicBezTo>
                  <a:pt x="57" y="39"/>
                  <a:pt x="56" y="41"/>
                  <a:pt x="55" y="44"/>
                </a:cubicBezTo>
                <a:cubicBezTo>
                  <a:pt x="55" y="46"/>
                  <a:pt x="56" y="49"/>
                  <a:pt x="57" y="51"/>
                </a:cubicBezTo>
                <a:cubicBezTo>
                  <a:pt x="59" y="54"/>
                  <a:pt x="62" y="55"/>
                  <a:pt x="64" y="55"/>
                </a:cubicBezTo>
                <a:cubicBezTo>
                  <a:pt x="67" y="56"/>
                  <a:pt x="70" y="55"/>
                  <a:pt x="72" y="53"/>
                </a:cubicBezTo>
                <a:cubicBezTo>
                  <a:pt x="74" y="51"/>
                  <a:pt x="76" y="49"/>
                  <a:pt x="76" y="46"/>
                </a:cubicBezTo>
                <a:cubicBezTo>
                  <a:pt x="76" y="44"/>
                  <a:pt x="75" y="41"/>
                  <a:pt x="74" y="39"/>
                </a:cubicBezTo>
                <a:cubicBezTo>
                  <a:pt x="72" y="36"/>
                  <a:pt x="69" y="35"/>
                  <a:pt x="67" y="35"/>
                </a:cubicBezTo>
                <a:close/>
                <a:moveTo>
                  <a:pt x="56" y="33"/>
                </a:moveTo>
                <a:cubicBezTo>
                  <a:pt x="52" y="35"/>
                  <a:pt x="50" y="39"/>
                  <a:pt x="50" y="43"/>
                </a:cubicBezTo>
                <a:cubicBezTo>
                  <a:pt x="50" y="47"/>
                  <a:pt x="51" y="51"/>
                  <a:pt x="53" y="55"/>
                </a:cubicBezTo>
                <a:cubicBezTo>
                  <a:pt x="56" y="58"/>
                  <a:pt x="60" y="60"/>
                  <a:pt x="64" y="60"/>
                </a:cubicBezTo>
                <a:cubicBezTo>
                  <a:pt x="67" y="61"/>
                  <a:pt x="70" y="60"/>
                  <a:pt x="73" y="59"/>
                </a:cubicBezTo>
                <a:cubicBezTo>
                  <a:pt x="73" y="60"/>
                  <a:pt x="73" y="61"/>
                  <a:pt x="74" y="61"/>
                </a:cubicBezTo>
                <a:cubicBezTo>
                  <a:pt x="79" y="68"/>
                  <a:pt x="79" y="68"/>
                  <a:pt x="79" y="68"/>
                </a:cubicBezTo>
                <a:cubicBezTo>
                  <a:pt x="80" y="70"/>
                  <a:pt x="83" y="70"/>
                  <a:pt x="84" y="69"/>
                </a:cubicBezTo>
                <a:cubicBezTo>
                  <a:pt x="84" y="69"/>
                  <a:pt x="84" y="69"/>
                  <a:pt x="84" y="69"/>
                </a:cubicBezTo>
                <a:cubicBezTo>
                  <a:pt x="86" y="67"/>
                  <a:pt x="86" y="65"/>
                  <a:pt x="85" y="63"/>
                </a:cubicBezTo>
                <a:cubicBezTo>
                  <a:pt x="80" y="57"/>
                  <a:pt x="80" y="57"/>
                  <a:pt x="80" y="57"/>
                </a:cubicBezTo>
                <a:cubicBezTo>
                  <a:pt x="79" y="56"/>
                  <a:pt x="78" y="55"/>
                  <a:pt x="77" y="55"/>
                </a:cubicBezTo>
                <a:cubicBezTo>
                  <a:pt x="79" y="53"/>
                  <a:pt x="81" y="50"/>
                  <a:pt x="81" y="47"/>
                </a:cubicBezTo>
                <a:cubicBezTo>
                  <a:pt x="82" y="43"/>
                  <a:pt x="81" y="39"/>
                  <a:pt x="78" y="35"/>
                </a:cubicBezTo>
                <a:cubicBezTo>
                  <a:pt x="75" y="32"/>
                  <a:pt x="71" y="30"/>
                  <a:pt x="67" y="29"/>
                </a:cubicBezTo>
                <a:cubicBezTo>
                  <a:pt x="63" y="29"/>
                  <a:pt x="59" y="30"/>
                  <a:pt x="56" y="33"/>
                </a:cubicBezTo>
                <a:close/>
                <a:moveTo>
                  <a:pt x="58" y="46"/>
                </a:moveTo>
                <a:cubicBezTo>
                  <a:pt x="60" y="41"/>
                  <a:pt x="64" y="39"/>
                  <a:pt x="70" y="38"/>
                </a:cubicBezTo>
                <a:cubicBezTo>
                  <a:pt x="64" y="34"/>
                  <a:pt x="57" y="40"/>
                  <a:pt x="58" y="46"/>
                </a:cubicBezTo>
                <a:close/>
                <a:moveTo>
                  <a:pt x="71" y="21"/>
                </a:moveTo>
                <a:cubicBezTo>
                  <a:pt x="65" y="21"/>
                  <a:pt x="51" y="19"/>
                  <a:pt x="47" y="19"/>
                </a:cubicBezTo>
                <a:cubicBezTo>
                  <a:pt x="47" y="20"/>
                  <a:pt x="47" y="21"/>
                  <a:pt x="47" y="21"/>
                </a:cubicBezTo>
                <a:cubicBezTo>
                  <a:pt x="51" y="21"/>
                  <a:pt x="67" y="24"/>
                  <a:pt x="71" y="24"/>
                </a:cubicBezTo>
                <a:cubicBezTo>
                  <a:pt x="71" y="23"/>
                  <a:pt x="71" y="22"/>
                  <a:pt x="71" y="21"/>
                </a:cubicBezTo>
                <a:close/>
                <a:moveTo>
                  <a:pt x="71" y="15"/>
                </a:moveTo>
                <a:cubicBezTo>
                  <a:pt x="65" y="15"/>
                  <a:pt x="51" y="12"/>
                  <a:pt x="47" y="12"/>
                </a:cubicBezTo>
                <a:cubicBezTo>
                  <a:pt x="47" y="13"/>
                  <a:pt x="47" y="14"/>
                  <a:pt x="47" y="14"/>
                </a:cubicBezTo>
                <a:cubicBezTo>
                  <a:pt x="51" y="14"/>
                  <a:pt x="67" y="17"/>
                  <a:pt x="71" y="17"/>
                </a:cubicBezTo>
                <a:cubicBezTo>
                  <a:pt x="71" y="16"/>
                  <a:pt x="71" y="15"/>
                  <a:pt x="71" y="15"/>
                </a:cubicBezTo>
                <a:close/>
                <a:moveTo>
                  <a:pt x="10" y="49"/>
                </a:moveTo>
                <a:cubicBezTo>
                  <a:pt x="10" y="49"/>
                  <a:pt x="10" y="50"/>
                  <a:pt x="10" y="51"/>
                </a:cubicBezTo>
                <a:cubicBezTo>
                  <a:pt x="14" y="51"/>
                  <a:pt x="29" y="48"/>
                  <a:pt x="34" y="48"/>
                </a:cubicBezTo>
                <a:cubicBezTo>
                  <a:pt x="34" y="48"/>
                  <a:pt x="34" y="47"/>
                  <a:pt x="34" y="46"/>
                </a:cubicBezTo>
                <a:cubicBezTo>
                  <a:pt x="30" y="46"/>
                  <a:pt x="15" y="49"/>
                  <a:pt x="10" y="49"/>
                </a:cubicBezTo>
                <a:close/>
                <a:moveTo>
                  <a:pt x="10" y="41"/>
                </a:moveTo>
                <a:cubicBezTo>
                  <a:pt x="10" y="42"/>
                  <a:pt x="10" y="43"/>
                  <a:pt x="10" y="43"/>
                </a:cubicBezTo>
                <a:cubicBezTo>
                  <a:pt x="14" y="44"/>
                  <a:pt x="29" y="41"/>
                  <a:pt x="34" y="41"/>
                </a:cubicBezTo>
                <a:cubicBezTo>
                  <a:pt x="34" y="40"/>
                  <a:pt x="34" y="40"/>
                  <a:pt x="34" y="39"/>
                </a:cubicBezTo>
                <a:cubicBezTo>
                  <a:pt x="30" y="39"/>
                  <a:pt x="15" y="41"/>
                  <a:pt x="10" y="41"/>
                </a:cubicBezTo>
                <a:close/>
                <a:moveTo>
                  <a:pt x="10" y="34"/>
                </a:moveTo>
                <a:cubicBezTo>
                  <a:pt x="10" y="35"/>
                  <a:pt x="10" y="36"/>
                  <a:pt x="10" y="37"/>
                </a:cubicBezTo>
                <a:cubicBezTo>
                  <a:pt x="14" y="37"/>
                  <a:pt x="29" y="34"/>
                  <a:pt x="34" y="34"/>
                </a:cubicBezTo>
                <a:cubicBezTo>
                  <a:pt x="34" y="33"/>
                  <a:pt x="34" y="33"/>
                  <a:pt x="34" y="32"/>
                </a:cubicBezTo>
                <a:cubicBezTo>
                  <a:pt x="30" y="32"/>
                  <a:pt x="15" y="34"/>
                  <a:pt x="10" y="34"/>
                </a:cubicBezTo>
                <a:close/>
                <a:moveTo>
                  <a:pt x="22" y="25"/>
                </a:moveTo>
                <a:cubicBezTo>
                  <a:pt x="22" y="26"/>
                  <a:pt x="22" y="27"/>
                  <a:pt x="22" y="28"/>
                </a:cubicBezTo>
                <a:cubicBezTo>
                  <a:pt x="25" y="28"/>
                  <a:pt x="29" y="26"/>
                  <a:pt x="34" y="27"/>
                </a:cubicBezTo>
                <a:cubicBezTo>
                  <a:pt x="34" y="26"/>
                  <a:pt x="34" y="25"/>
                  <a:pt x="34" y="24"/>
                </a:cubicBezTo>
                <a:cubicBezTo>
                  <a:pt x="30" y="24"/>
                  <a:pt x="26" y="25"/>
                  <a:pt x="22" y="25"/>
                </a:cubicBezTo>
                <a:close/>
                <a:moveTo>
                  <a:pt x="22" y="19"/>
                </a:moveTo>
                <a:cubicBezTo>
                  <a:pt x="22" y="20"/>
                  <a:pt x="22" y="21"/>
                  <a:pt x="22" y="21"/>
                </a:cubicBezTo>
                <a:cubicBezTo>
                  <a:pt x="25" y="21"/>
                  <a:pt x="29" y="20"/>
                  <a:pt x="34" y="20"/>
                </a:cubicBezTo>
                <a:cubicBezTo>
                  <a:pt x="34" y="20"/>
                  <a:pt x="34" y="19"/>
                  <a:pt x="34" y="18"/>
                </a:cubicBezTo>
                <a:cubicBezTo>
                  <a:pt x="30" y="18"/>
                  <a:pt x="26" y="19"/>
                  <a:pt x="22" y="19"/>
                </a:cubicBezTo>
                <a:close/>
                <a:moveTo>
                  <a:pt x="22" y="14"/>
                </a:moveTo>
                <a:cubicBezTo>
                  <a:pt x="22" y="15"/>
                  <a:pt x="22" y="15"/>
                  <a:pt x="22" y="16"/>
                </a:cubicBezTo>
                <a:cubicBezTo>
                  <a:pt x="25" y="16"/>
                  <a:pt x="29" y="15"/>
                  <a:pt x="34" y="15"/>
                </a:cubicBezTo>
                <a:cubicBezTo>
                  <a:pt x="34" y="14"/>
                  <a:pt x="34" y="14"/>
                  <a:pt x="34" y="13"/>
                </a:cubicBezTo>
                <a:cubicBezTo>
                  <a:pt x="30" y="13"/>
                  <a:pt x="26" y="13"/>
                  <a:pt x="22" y="14"/>
                </a:cubicBezTo>
                <a:close/>
                <a:moveTo>
                  <a:pt x="9" y="14"/>
                </a:moveTo>
                <a:cubicBezTo>
                  <a:pt x="9" y="31"/>
                  <a:pt x="9" y="31"/>
                  <a:pt x="9" y="31"/>
                </a:cubicBezTo>
                <a:cubicBezTo>
                  <a:pt x="19" y="30"/>
                  <a:pt x="19" y="30"/>
                  <a:pt x="19" y="30"/>
                </a:cubicBezTo>
                <a:cubicBezTo>
                  <a:pt x="19" y="13"/>
                  <a:pt x="19" y="13"/>
                  <a:pt x="19" y="13"/>
                </a:cubicBezTo>
                <a:cubicBezTo>
                  <a:pt x="9" y="14"/>
                  <a:pt x="9" y="14"/>
                  <a:pt x="9" y="14"/>
                </a:cubicBezTo>
                <a:close/>
                <a:moveTo>
                  <a:pt x="21" y="8"/>
                </a:moveTo>
                <a:cubicBezTo>
                  <a:pt x="16" y="8"/>
                  <a:pt x="10" y="9"/>
                  <a:pt x="5" y="9"/>
                </a:cubicBezTo>
                <a:cubicBezTo>
                  <a:pt x="5" y="56"/>
                  <a:pt x="5" y="56"/>
                  <a:pt x="5" y="56"/>
                </a:cubicBezTo>
                <a:cubicBezTo>
                  <a:pt x="10" y="56"/>
                  <a:pt x="16" y="55"/>
                  <a:pt x="21" y="55"/>
                </a:cubicBezTo>
                <a:cubicBezTo>
                  <a:pt x="27" y="54"/>
                  <a:pt x="33" y="53"/>
                  <a:pt x="37" y="54"/>
                </a:cubicBezTo>
                <a:cubicBezTo>
                  <a:pt x="37" y="8"/>
                  <a:pt x="37" y="8"/>
                  <a:pt x="37" y="8"/>
                </a:cubicBezTo>
                <a:cubicBezTo>
                  <a:pt x="34" y="6"/>
                  <a:pt x="27" y="7"/>
                  <a:pt x="21" y="8"/>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5" name="文本框 34"/>
          <p:cNvSpPr txBox="1">
            <a:spLocks noChangeArrowheads="1"/>
          </p:cNvSpPr>
          <p:nvPr/>
        </p:nvSpPr>
        <p:spPr bwMode="auto">
          <a:xfrm>
            <a:off x="998538" y="4275138"/>
            <a:ext cx="3073400" cy="156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3200" dirty="0">
                <a:solidFill>
                  <a:schemeClr val="bg1"/>
                </a:solidFill>
              </a:rPr>
              <a:t>Basis for Sustainability Audit</a:t>
            </a:r>
          </a:p>
        </p:txBody>
      </p:sp>
      <p:sp>
        <p:nvSpPr>
          <p:cNvPr id="7" name="矩形 6"/>
          <p:cNvSpPr>
            <a:spLocks noChangeArrowheads="1"/>
          </p:cNvSpPr>
          <p:nvPr/>
        </p:nvSpPr>
        <p:spPr bwMode="auto">
          <a:xfrm>
            <a:off x="5755005" y="1687830"/>
            <a:ext cx="3949065" cy="41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2100" b="1">
                <a:solidFill>
                  <a:srgbClr val="197519"/>
                </a:solidFill>
              </a:rPr>
              <a:t>General Business Principles</a:t>
            </a:r>
          </a:p>
        </p:txBody>
      </p:sp>
      <p:sp>
        <p:nvSpPr>
          <p:cNvPr id="27" name="矩形 26"/>
          <p:cNvSpPr>
            <a:spLocks noChangeArrowheads="1"/>
          </p:cNvSpPr>
          <p:nvPr/>
        </p:nvSpPr>
        <p:spPr bwMode="auto">
          <a:xfrm>
            <a:off x="6097905" y="3402330"/>
            <a:ext cx="5775325" cy="41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2100" b="1">
                <a:solidFill>
                  <a:srgbClr val="197519"/>
                </a:solidFill>
              </a:rPr>
              <a:t>Code of Conduct for Business Partners</a:t>
            </a:r>
          </a:p>
        </p:txBody>
      </p:sp>
      <p:sp>
        <p:nvSpPr>
          <p:cNvPr id="33" name="矩形 32"/>
          <p:cNvSpPr>
            <a:spLocks noChangeArrowheads="1"/>
          </p:cNvSpPr>
          <p:nvPr/>
        </p:nvSpPr>
        <p:spPr bwMode="auto">
          <a:xfrm>
            <a:off x="5783263" y="5159375"/>
            <a:ext cx="6011227"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GB" altLang="zh-CN" sz="2100" b="1" dirty="0">
                <a:solidFill>
                  <a:srgbClr val="197519"/>
                </a:solidFill>
              </a:rPr>
              <a:t>Supplier Sustainability Declaration</a:t>
            </a:r>
            <a:endParaRPr lang="zh-CN" altLang="en-US" sz="2100" b="1" dirty="0"/>
          </a:p>
        </p:txBody>
      </p:sp>
      <p:grpSp>
        <p:nvGrpSpPr>
          <p:cNvPr id="14" name="组合 13"/>
          <p:cNvGrpSpPr/>
          <p:nvPr/>
        </p:nvGrpSpPr>
        <p:grpSpPr bwMode="auto">
          <a:xfrm>
            <a:off x="3857625" y="1804988"/>
            <a:ext cx="1733550" cy="1263650"/>
            <a:chOff x="3856882" y="1805041"/>
            <a:chExt cx="1734682" cy="1262903"/>
          </a:xfrm>
        </p:grpSpPr>
        <p:grpSp>
          <p:nvGrpSpPr>
            <p:cNvPr id="10259" name="组合 8"/>
            <p:cNvGrpSpPr/>
            <p:nvPr/>
          </p:nvGrpSpPr>
          <p:grpSpPr bwMode="auto">
            <a:xfrm>
              <a:off x="4635110" y="1805041"/>
              <a:ext cx="956454" cy="907419"/>
              <a:chOff x="4635110" y="1805041"/>
              <a:chExt cx="956454" cy="907419"/>
            </a:xfrm>
          </p:grpSpPr>
          <p:sp>
            <p:nvSpPr>
              <p:cNvPr id="10260" name="等腰三角形 4"/>
              <p:cNvSpPr>
                <a:spLocks noChangeArrowheads="1"/>
              </p:cNvSpPr>
              <p:nvPr/>
            </p:nvSpPr>
            <p:spPr bwMode="auto">
              <a:xfrm>
                <a:off x="4635110" y="1805041"/>
                <a:ext cx="956454" cy="824528"/>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0261" name="文本框 27"/>
              <p:cNvSpPr txBox="1">
                <a:spLocks noChangeArrowheads="1"/>
              </p:cNvSpPr>
              <p:nvPr/>
            </p:nvSpPr>
            <p:spPr bwMode="auto">
              <a:xfrm>
                <a:off x="4676256" y="2066129"/>
                <a:ext cx="91530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3600">
                    <a:solidFill>
                      <a:schemeClr val="bg1"/>
                    </a:solidFill>
                  </a:rPr>
                  <a:t>01</a:t>
                </a:r>
                <a:endParaRPr lang="zh-CN" altLang="en-US" sz="3600">
                  <a:solidFill>
                    <a:schemeClr val="bg1"/>
                  </a:solidFill>
                  <a:ea typeface="方正粗倩简体" pitchFamily="65" charset="-122"/>
                </a:endParaRPr>
              </a:p>
            </p:txBody>
          </p:sp>
        </p:grpSp>
        <p:sp>
          <p:nvSpPr>
            <p:cNvPr id="13" name="矩形 12"/>
            <p:cNvSpPr/>
            <p:nvPr/>
          </p:nvSpPr>
          <p:spPr>
            <a:xfrm rot="19804025">
              <a:off x="3856882" y="2198508"/>
              <a:ext cx="1580594" cy="86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grpSp>
        <p:nvGrpSpPr>
          <p:cNvPr id="15" name="组合 14"/>
          <p:cNvGrpSpPr/>
          <p:nvPr/>
        </p:nvGrpSpPr>
        <p:grpSpPr bwMode="auto">
          <a:xfrm>
            <a:off x="4279900" y="3368675"/>
            <a:ext cx="1855788" cy="962025"/>
            <a:chOff x="4279404" y="3368896"/>
            <a:chExt cx="1855551" cy="962445"/>
          </a:xfrm>
        </p:grpSpPr>
        <p:grpSp>
          <p:nvGrpSpPr>
            <p:cNvPr id="10264" name="组合 9"/>
            <p:cNvGrpSpPr/>
            <p:nvPr/>
          </p:nvGrpSpPr>
          <p:grpSpPr bwMode="auto">
            <a:xfrm>
              <a:off x="5103518" y="3368896"/>
              <a:ext cx="1031437" cy="856513"/>
              <a:chOff x="5103518" y="3368896"/>
              <a:chExt cx="1031437" cy="856513"/>
            </a:xfrm>
          </p:grpSpPr>
          <p:sp>
            <p:nvSpPr>
              <p:cNvPr id="10265" name="等腰三角形 21"/>
              <p:cNvSpPr>
                <a:spLocks noChangeArrowheads="1"/>
              </p:cNvSpPr>
              <p:nvPr/>
            </p:nvSpPr>
            <p:spPr bwMode="auto">
              <a:xfrm rot="1800000">
                <a:off x="5178501" y="3368896"/>
                <a:ext cx="956454" cy="824528"/>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0266" name="文本框 29"/>
              <p:cNvSpPr txBox="1">
                <a:spLocks noChangeArrowheads="1"/>
              </p:cNvSpPr>
              <p:nvPr/>
            </p:nvSpPr>
            <p:spPr bwMode="auto">
              <a:xfrm>
                <a:off x="5103518" y="3579078"/>
                <a:ext cx="91530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3600">
                    <a:solidFill>
                      <a:schemeClr val="bg1"/>
                    </a:solidFill>
                  </a:rPr>
                  <a:t>02</a:t>
                </a:r>
                <a:endParaRPr lang="zh-CN" altLang="en-US" sz="3600">
                  <a:solidFill>
                    <a:schemeClr val="bg1"/>
                  </a:solidFill>
                  <a:ea typeface="方正粗倩简体" pitchFamily="65" charset="-122"/>
                </a:endParaRPr>
              </a:p>
            </p:txBody>
          </p:sp>
        </p:grpSp>
        <p:sp>
          <p:nvSpPr>
            <p:cNvPr id="51" name="矩形 50"/>
            <p:cNvSpPr/>
            <p:nvPr/>
          </p:nvSpPr>
          <p:spPr>
            <a:xfrm>
              <a:off x="4279404" y="3462600"/>
              <a:ext cx="1580948" cy="8687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grpSp>
        <p:nvGrpSpPr>
          <p:cNvPr id="16" name="组合 15"/>
          <p:cNvGrpSpPr/>
          <p:nvPr/>
        </p:nvGrpSpPr>
        <p:grpSpPr bwMode="auto">
          <a:xfrm>
            <a:off x="3976688" y="4762500"/>
            <a:ext cx="1763712" cy="1112838"/>
            <a:chOff x="3976330" y="4762614"/>
            <a:chExt cx="1764377" cy="1113179"/>
          </a:xfrm>
        </p:grpSpPr>
        <p:grpSp>
          <p:nvGrpSpPr>
            <p:cNvPr id="10269" name="组合 11"/>
            <p:cNvGrpSpPr/>
            <p:nvPr/>
          </p:nvGrpSpPr>
          <p:grpSpPr bwMode="auto">
            <a:xfrm>
              <a:off x="4735934" y="4919339"/>
              <a:ext cx="1004773" cy="956454"/>
              <a:chOff x="4735934" y="4919339"/>
              <a:chExt cx="1004773" cy="956454"/>
            </a:xfrm>
          </p:grpSpPr>
          <p:sp>
            <p:nvSpPr>
              <p:cNvPr id="10270" name="等腰三角形 22"/>
              <p:cNvSpPr>
                <a:spLocks noChangeArrowheads="1"/>
              </p:cNvSpPr>
              <p:nvPr/>
            </p:nvSpPr>
            <p:spPr bwMode="auto">
              <a:xfrm rot="3600000">
                <a:off x="4850216" y="4985302"/>
                <a:ext cx="956454" cy="824528"/>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10271" name="文本框 28"/>
              <p:cNvSpPr txBox="1">
                <a:spLocks noChangeArrowheads="1"/>
              </p:cNvSpPr>
              <p:nvPr/>
            </p:nvSpPr>
            <p:spPr bwMode="auto">
              <a:xfrm>
                <a:off x="4735934" y="5120141"/>
                <a:ext cx="91530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3600">
                    <a:solidFill>
                      <a:schemeClr val="bg1"/>
                    </a:solidFill>
                  </a:rPr>
                  <a:t>03</a:t>
                </a:r>
                <a:endParaRPr lang="zh-CN" altLang="en-US" sz="3600">
                  <a:solidFill>
                    <a:schemeClr val="bg1"/>
                  </a:solidFill>
                  <a:ea typeface="方正粗倩简体" pitchFamily="65" charset="-122"/>
                </a:endParaRPr>
              </a:p>
            </p:txBody>
          </p:sp>
        </p:grpSp>
        <p:sp>
          <p:nvSpPr>
            <p:cNvPr id="52" name="矩形 51"/>
            <p:cNvSpPr/>
            <p:nvPr/>
          </p:nvSpPr>
          <p:spPr>
            <a:xfrm rot="1795975" flipH="1">
              <a:off x="3976330" y="4762614"/>
              <a:ext cx="1581746" cy="870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grpSp>
      <p:sp>
        <p:nvSpPr>
          <p:cNvPr id="53" name="矩形 52"/>
          <p:cNvSpPr>
            <a:spLocks noChangeArrowheads="1"/>
          </p:cNvSpPr>
          <p:nvPr/>
        </p:nvSpPr>
        <p:spPr bwMode="auto">
          <a:xfrm>
            <a:off x="1280022" y="419100"/>
            <a:ext cx="4138295" cy="521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altLang="zh-CN" sz="2800" b="1" dirty="0">
                <a:solidFill>
                  <a:srgbClr val="197519"/>
                </a:solidFill>
                <a:latin typeface="Calibri" panose="020F0502020204030204" pitchFamily="34" charset="0"/>
                <a:cs typeface="Calibri" panose="020F0502020204030204" pitchFamily="34" charset="0"/>
              </a:rPr>
              <a:t>What is Sustainable Audit?</a:t>
            </a:r>
          </a:p>
        </p:txBody>
      </p:sp>
      <p:sp>
        <p:nvSpPr>
          <p:cNvPr id="54" name="等腰三角形 53"/>
          <p:cNvSpPr>
            <a:spLocks noChangeArrowheads="1"/>
          </p:cNvSpPr>
          <p:nvPr/>
        </p:nvSpPr>
        <p:spPr bwMode="auto">
          <a:xfrm>
            <a:off x="196850" y="360363"/>
            <a:ext cx="563563" cy="485775"/>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5" name="等腰三角形 54"/>
          <p:cNvSpPr>
            <a:spLocks noChangeArrowheads="1"/>
          </p:cNvSpPr>
          <p:nvPr/>
        </p:nvSpPr>
        <p:spPr bwMode="auto">
          <a:xfrm>
            <a:off x="760413" y="696913"/>
            <a:ext cx="265112" cy="228600"/>
          </a:xfrm>
          <a:prstGeom prst="triangle">
            <a:avLst>
              <a:gd name="adj" fmla="val 50000"/>
            </a:avLst>
          </a:prstGeom>
          <a:solidFill>
            <a:srgbClr val="197519">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6" name="等腰三角形 55"/>
          <p:cNvSpPr>
            <a:spLocks noChangeArrowheads="1"/>
          </p:cNvSpPr>
          <p:nvPr/>
        </p:nvSpPr>
        <p:spPr bwMode="auto">
          <a:xfrm flipH="1">
            <a:off x="630238" y="469900"/>
            <a:ext cx="85725" cy="74613"/>
          </a:xfrm>
          <a:prstGeom prst="triangle">
            <a:avLst>
              <a:gd name="adj" fmla="val 50000"/>
            </a:avLst>
          </a:prstGeom>
          <a:solidFill>
            <a:srgbClr val="197519">
              <a:alpha val="46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7" name="等腰三角形 56"/>
          <p:cNvSpPr>
            <a:spLocks noChangeArrowheads="1"/>
          </p:cNvSpPr>
          <p:nvPr/>
        </p:nvSpPr>
        <p:spPr bwMode="auto">
          <a:xfrm>
            <a:off x="833438" y="490538"/>
            <a:ext cx="177800" cy="152400"/>
          </a:xfrm>
          <a:prstGeom prst="triangle">
            <a:avLst>
              <a:gd name="adj" fmla="val 50000"/>
            </a:avLst>
          </a:prstGeom>
          <a:solidFill>
            <a:srgbClr val="197519">
              <a:alpha val="71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5" name="TextBox 44"/>
          <p:cNvSpPr txBox="1"/>
          <p:nvPr/>
        </p:nvSpPr>
        <p:spPr>
          <a:xfrm>
            <a:off x="6116955" y="3810635"/>
            <a:ext cx="5772150" cy="1322070"/>
          </a:xfrm>
          <a:prstGeom prst="rect">
            <a:avLst/>
          </a:prstGeom>
          <a:noFill/>
        </p:spPr>
        <p:txBody>
          <a:bodyPr wrap="square">
            <a:spAutoFit/>
          </a:bodyPr>
          <a:lstStyle/>
          <a:p>
            <a:pPr algn="just"/>
            <a:r>
              <a:rPr lang="zh-CN" altLang="en-US" sz="2000" dirty="0">
                <a:solidFill>
                  <a:srgbClr val="404040"/>
                </a:solidFill>
                <a:latin typeface="Calibri" panose="020F0502020204030204" pitchFamily="34" charset="0"/>
                <a:cs typeface="Calibri" panose="020F0502020204030204" pitchFamily="34" charset="0"/>
              </a:rPr>
              <a:t>Award business to Suppliers committed to acting fairly and with integrity towards their stakeholders, observing the applicable rules of law and supporting human rights</a:t>
            </a:r>
            <a:r>
              <a:rPr lang="zh-CN" altLang="en-US" sz="2000" dirty="0">
                <a:latin typeface="Calibri" panose="020F0502020204030204" pitchFamily="34" charset="0"/>
                <a:cs typeface="Calibri" panose="020F0502020204030204" pitchFamily="34" charset="0"/>
              </a:rPr>
              <a:t>.</a:t>
            </a:r>
          </a:p>
        </p:txBody>
      </p:sp>
    </p:spTree>
  </p:cSld>
  <p:clrMapOvr>
    <a:masterClrMapping/>
  </p:clrMapOvr>
  <p:transition spd="slow">
    <p:blinds dir="vert"/>
  </p:transition>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任意多边形 1"/>
          <p:cNvSpPr>
            <a:spLocks noChangeArrowheads="1"/>
          </p:cNvSpPr>
          <p:nvPr/>
        </p:nvSpPr>
        <p:spPr bwMode="auto">
          <a:xfrm>
            <a:off x="4466590" y="1816100"/>
            <a:ext cx="3239770" cy="4010025"/>
          </a:xfrm>
          <a:custGeom>
            <a:avLst/>
            <a:gdLst>
              <a:gd name="T0" fmla="*/ 565697 w 2361393"/>
              <a:gd name="T1" fmla="*/ 0 h 2376962"/>
              <a:gd name="T2" fmla="*/ 2361393 w 2361393"/>
              <a:gd name="T3" fmla="*/ 0 h 2376962"/>
              <a:gd name="T4" fmla="*/ 2361393 w 2361393"/>
              <a:gd name="T5" fmla="*/ 2376962 h 2376962"/>
              <a:gd name="T6" fmla="*/ 0 w 2361393"/>
              <a:gd name="T7" fmla="*/ 2376962 h 2376962"/>
              <a:gd name="T8" fmla="*/ 0 w 2361393"/>
              <a:gd name="T9" fmla="*/ 560506 h 2376962"/>
              <a:gd name="T10" fmla="*/ 0 w 2361393"/>
              <a:gd name="T11" fmla="*/ 0 h 2376962"/>
              <a:gd name="T12" fmla="*/ 503419 w 2361393"/>
              <a:gd name="T13" fmla="*/ 0 h 2376962"/>
              <a:gd name="T14" fmla="*/ 0 w 2361393"/>
              <a:gd name="T15" fmla="*/ 498227 h 23769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1393" h="2376962">
                <a:moveTo>
                  <a:pt x="565697" y="0"/>
                </a:moveTo>
                <a:lnTo>
                  <a:pt x="2361393" y="0"/>
                </a:lnTo>
                <a:lnTo>
                  <a:pt x="2361393" y="2376962"/>
                </a:lnTo>
                <a:lnTo>
                  <a:pt x="0" y="2376962"/>
                </a:lnTo>
                <a:lnTo>
                  <a:pt x="0" y="560506"/>
                </a:lnTo>
                <a:close/>
                <a:moveTo>
                  <a:pt x="0" y="0"/>
                </a:moveTo>
                <a:lnTo>
                  <a:pt x="503419" y="0"/>
                </a:lnTo>
                <a:lnTo>
                  <a:pt x="0" y="498227"/>
                </a:lnTo>
                <a:close/>
              </a:path>
            </a:pathLst>
          </a:custGeom>
          <a:solidFill>
            <a:srgbClr val="197519"/>
          </a:solidFill>
          <a:ln>
            <a:noFill/>
          </a:ln>
          <a:extLst>
            <a:ext uri="{91240B29-F687-4F45-9708-019B960494DF}">
              <a14:hiddenLine xmlns:a14="http://schemas.microsoft.com/office/drawing/2010/main" w="9525">
                <a:solidFill>
                  <a:srgbClr val="000000"/>
                </a:solidFill>
                <a:round/>
              </a14:hiddenLine>
            </a:ext>
          </a:extLst>
        </p:spPr>
        <p:txBody>
          <a:bodyPr/>
          <a:lstStyle/>
          <a:p>
            <a:pPr algn="ctr"/>
            <a:endParaRPr lang="de-DE" b="1" dirty="0">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Daimler CS" pitchFamily="2" charset="0"/>
            </a:endParaRPr>
          </a:p>
        </p:txBody>
      </p:sp>
      <p:sp>
        <p:nvSpPr>
          <p:cNvPr id="3" name="任意多边形 2"/>
          <p:cNvSpPr>
            <a:spLocks noChangeArrowheads="1"/>
          </p:cNvSpPr>
          <p:nvPr/>
        </p:nvSpPr>
        <p:spPr bwMode="auto">
          <a:xfrm>
            <a:off x="8380730" y="1803400"/>
            <a:ext cx="3239770" cy="4022725"/>
          </a:xfrm>
          <a:custGeom>
            <a:avLst/>
            <a:gdLst>
              <a:gd name="T0" fmla="*/ 565697 w 2361393"/>
              <a:gd name="T1" fmla="*/ 0 h 2376962"/>
              <a:gd name="T2" fmla="*/ 2361393 w 2361393"/>
              <a:gd name="T3" fmla="*/ 0 h 2376962"/>
              <a:gd name="T4" fmla="*/ 2361393 w 2361393"/>
              <a:gd name="T5" fmla="*/ 2376962 h 2376962"/>
              <a:gd name="T6" fmla="*/ 0 w 2361393"/>
              <a:gd name="T7" fmla="*/ 2376962 h 2376962"/>
              <a:gd name="T8" fmla="*/ 0 w 2361393"/>
              <a:gd name="T9" fmla="*/ 560506 h 2376962"/>
              <a:gd name="T10" fmla="*/ 0 w 2361393"/>
              <a:gd name="T11" fmla="*/ 0 h 2376962"/>
              <a:gd name="T12" fmla="*/ 503419 w 2361393"/>
              <a:gd name="T13" fmla="*/ 0 h 2376962"/>
              <a:gd name="T14" fmla="*/ 0 w 2361393"/>
              <a:gd name="T15" fmla="*/ 498227 h 23769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1393" h="2376962">
                <a:moveTo>
                  <a:pt x="565697" y="0"/>
                </a:moveTo>
                <a:lnTo>
                  <a:pt x="2361393" y="0"/>
                </a:lnTo>
                <a:lnTo>
                  <a:pt x="2361393" y="2376962"/>
                </a:lnTo>
                <a:lnTo>
                  <a:pt x="0" y="2376962"/>
                </a:lnTo>
                <a:lnTo>
                  <a:pt x="0" y="560506"/>
                </a:lnTo>
                <a:close/>
                <a:moveTo>
                  <a:pt x="0" y="0"/>
                </a:moveTo>
                <a:lnTo>
                  <a:pt x="503419" y="0"/>
                </a:lnTo>
                <a:lnTo>
                  <a:pt x="0" y="498227"/>
                </a:lnTo>
                <a:close/>
              </a:path>
            </a:pathLst>
          </a:custGeom>
          <a:solidFill>
            <a:srgbClr val="197519"/>
          </a:solidFill>
          <a:ln>
            <a:noFill/>
          </a:ln>
          <a:extLst>
            <a:ext uri="{91240B29-F687-4F45-9708-019B960494DF}">
              <a14:hiddenLine xmlns:a14="http://schemas.microsoft.com/office/drawing/2010/main" w="9525">
                <a:solidFill>
                  <a:srgbClr val="000000"/>
                </a:solidFill>
                <a:round/>
              </a14:hiddenLine>
            </a:ext>
          </a:extLst>
        </p:spPr>
        <p:txBody>
          <a:bodyPr/>
          <a:lstStyle/>
          <a:p>
            <a:pPr algn="ctr"/>
            <a:endParaRPr lang="de-DE" b="1" dirty="0">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Daimler CS" pitchFamily="2" charset="0"/>
            </a:endParaRPr>
          </a:p>
        </p:txBody>
      </p:sp>
      <p:cxnSp>
        <p:nvCxnSpPr>
          <p:cNvPr id="66" name="直接连接符 65"/>
          <p:cNvCxnSpPr/>
          <p:nvPr/>
        </p:nvCxnSpPr>
        <p:spPr>
          <a:xfrm>
            <a:off x="552450" y="6067425"/>
            <a:ext cx="11068050" cy="0"/>
          </a:xfrm>
          <a:prstGeom prst="line">
            <a:avLst/>
          </a:prstGeom>
          <a:ln w="85725"/>
        </p:spPr>
        <p:style>
          <a:lnRef idx="1">
            <a:schemeClr val="accent1"/>
          </a:lnRef>
          <a:fillRef idx="0">
            <a:schemeClr val="accent1"/>
          </a:fillRef>
          <a:effectRef idx="0">
            <a:schemeClr val="accent1"/>
          </a:effectRef>
          <a:fontRef idx="minor">
            <a:schemeClr val="tx1"/>
          </a:fontRef>
        </p:style>
      </p:cxnSp>
      <p:sp>
        <p:nvSpPr>
          <p:cNvPr id="34" name="等腰三角形 33"/>
          <p:cNvSpPr>
            <a:spLocks noChangeArrowheads="1"/>
          </p:cNvSpPr>
          <p:nvPr/>
        </p:nvSpPr>
        <p:spPr bwMode="auto">
          <a:xfrm rot="9233090">
            <a:off x="11190288" y="6661150"/>
            <a:ext cx="120650" cy="104775"/>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5" name="等腰三角形 34"/>
          <p:cNvSpPr>
            <a:spLocks noChangeArrowheads="1"/>
          </p:cNvSpPr>
          <p:nvPr/>
        </p:nvSpPr>
        <p:spPr bwMode="auto">
          <a:xfrm rot="-6030424">
            <a:off x="10948194" y="6634956"/>
            <a:ext cx="180975" cy="157163"/>
          </a:xfrm>
          <a:prstGeom prst="triangle">
            <a:avLst>
              <a:gd name="adj" fmla="val 50000"/>
            </a:avLst>
          </a:prstGeom>
          <a:solidFill>
            <a:srgbClr val="309030"/>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9" name="等腰三角形 38"/>
          <p:cNvSpPr>
            <a:spLocks noChangeArrowheads="1"/>
          </p:cNvSpPr>
          <p:nvPr/>
        </p:nvSpPr>
        <p:spPr bwMode="auto">
          <a:xfrm rot="-228606">
            <a:off x="11403013" y="6643688"/>
            <a:ext cx="122237" cy="104775"/>
          </a:xfrm>
          <a:prstGeom prst="triangle">
            <a:avLst>
              <a:gd name="adj" fmla="val 50000"/>
            </a:avLst>
          </a:prstGeom>
          <a:solidFill>
            <a:srgbClr val="2B7E2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40" name="等腰三角形 39"/>
          <p:cNvSpPr>
            <a:spLocks noChangeArrowheads="1"/>
          </p:cNvSpPr>
          <p:nvPr/>
        </p:nvSpPr>
        <p:spPr bwMode="auto">
          <a:xfrm rot="-3389783">
            <a:off x="11143456" y="6571457"/>
            <a:ext cx="58737" cy="50800"/>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53" name="等腰三角形 52"/>
          <p:cNvSpPr>
            <a:spLocks noChangeArrowheads="1"/>
          </p:cNvSpPr>
          <p:nvPr/>
        </p:nvSpPr>
        <p:spPr bwMode="auto">
          <a:xfrm rot="8748521">
            <a:off x="11333163" y="6657975"/>
            <a:ext cx="58737" cy="49213"/>
          </a:xfrm>
          <a:prstGeom prst="triangle">
            <a:avLst>
              <a:gd name="adj" fmla="val 50000"/>
            </a:avLst>
          </a:prstGeom>
          <a:solidFill>
            <a:srgbClr val="559551"/>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8" name="任意多边形 37"/>
          <p:cNvSpPr>
            <a:spLocks noChangeArrowheads="1"/>
          </p:cNvSpPr>
          <p:nvPr/>
        </p:nvSpPr>
        <p:spPr bwMode="auto">
          <a:xfrm>
            <a:off x="552450" y="1816100"/>
            <a:ext cx="3239770" cy="4019550"/>
          </a:xfrm>
          <a:custGeom>
            <a:avLst/>
            <a:gdLst>
              <a:gd name="T0" fmla="*/ 565697 w 2361393"/>
              <a:gd name="T1" fmla="*/ 0 h 2376962"/>
              <a:gd name="T2" fmla="*/ 2361393 w 2361393"/>
              <a:gd name="T3" fmla="*/ 0 h 2376962"/>
              <a:gd name="T4" fmla="*/ 2361393 w 2361393"/>
              <a:gd name="T5" fmla="*/ 2376962 h 2376962"/>
              <a:gd name="T6" fmla="*/ 0 w 2361393"/>
              <a:gd name="T7" fmla="*/ 2376962 h 2376962"/>
              <a:gd name="T8" fmla="*/ 0 w 2361393"/>
              <a:gd name="T9" fmla="*/ 560506 h 2376962"/>
              <a:gd name="T10" fmla="*/ 0 w 2361393"/>
              <a:gd name="T11" fmla="*/ 0 h 2376962"/>
              <a:gd name="T12" fmla="*/ 503419 w 2361393"/>
              <a:gd name="T13" fmla="*/ 0 h 2376962"/>
              <a:gd name="T14" fmla="*/ 0 w 2361393"/>
              <a:gd name="T15" fmla="*/ 498227 h 23769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1393" h="2376962">
                <a:moveTo>
                  <a:pt x="565697" y="0"/>
                </a:moveTo>
                <a:lnTo>
                  <a:pt x="2361393" y="0"/>
                </a:lnTo>
                <a:lnTo>
                  <a:pt x="2361393" y="2376962"/>
                </a:lnTo>
                <a:lnTo>
                  <a:pt x="0" y="2376962"/>
                </a:lnTo>
                <a:lnTo>
                  <a:pt x="0" y="560506"/>
                </a:lnTo>
                <a:close/>
                <a:moveTo>
                  <a:pt x="0" y="0"/>
                </a:moveTo>
                <a:lnTo>
                  <a:pt x="503419" y="0"/>
                </a:lnTo>
                <a:lnTo>
                  <a:pt x="0" y="498227"/>
                </a:lnTo>
                <a:close/>
              </a:path>
            </a:pathLst>
          </a:custGeom>
          <a:solidFill>
            <a:srgbClr val="197519"/>
          </a:solidFill>
          <a:ln>
            <a:noFill/>
          </a:ln>
          <a:effectLst/>
          <a:extLst>
            <a:ext uri="{91240B29-F687-4F45-9708-019B960494DF}">
              <a14:hiddenLine xmlns:a14="http://schemas.microsoft.com/office/drawing/2010/main" w="9525">
                <a:solidFill>
                  <a:srgbClr val="000000"/>
                </a:solidFill>
                <a:round/>
              </a14:hiddenLine>
            </a:ext>
          </a:extLst>
        </p:spPr>
        <p:txBody>
          <a:bodyPr/>
          <a:lstStyle/>
          <a:p>
            <a:pPr algn="ctr"/>
            <a:endParaRPr lang="de-DE" b="1" dirty="0">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Daimler CS" pitchFamily="2" charset="0"/>
            </a:endParaRPr>
          </a:p>
        </p:txBody>
      </p:sp>
      <p:sp>
        <p:nvSpPr>
          <p:cNvPr id="48" name="等腰三角形 47"/>
          <p:cNvSpPr>
            <a:spLocks noChangeArrowheads="1"/>
          </p:cNvSpPr>
          <p:nvPr/>
        </p:nvSpPr>
        <p:spPr bwMode="auto">
          <a:xfrm>
            <a:off x="196850" y="360363"/>
            <a:ext cx="563563" cy="485775"/>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4" name="等腰三角形 53"/>
          <p:cNvSpPr>
            <a:spLocks noChangeArrowheads="1"/>
          </p:cNvSpPr>
          <p:nvPr/>
        </p:nvSpPr>
        <p:spPr bwMode="auto">
          <a:xfrm>
            <a:off x="760413" y="696913"/>
            <a:ext cx="265112" cy="228600"/>
          </a:xfrm>
          <a:prstGeom prst="triangle">
            <a:avLst>
              <a:gd name="adj" fmla="val 50000"/>
            </a:avLst>
          </a:prstGeom>
          <a:solidFill>
            <a:srgbClr val="197519">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6" name="等腰三角形 55"/>
          <p:cNvSpPr>
            <a:spLocks noChangeArrowheads="1"/>
          </p:cNvSpPr>
          <p:nvPr/>
        </p:nvSpPr>
        <p:spPr bwMode="auto">
          <a:xfrm flipH="1">
            <a:off x="630238" y="469900"/>
            <a:ext cx="85725" cy="74613"/>
          </a:xfrm>
          <a:prstGeom prst="triangle">
            <a:avLst>
              <a:gd name="adj" fmla="val 50000"/>
            </a:avLst>
          </a:prstGeom>
          <a:solidFill>
            <a:srgbClr val="197519">
              <a:alpha val="46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61" name="等腰三角形 60"/>
          <p:cNvSpPr>
            <a:spLocks noChangeArrowheads="1"/>
          </p:cNvSpPr>
          <p:nvPr/>
        </p:nvSpPr>
        <p:spPr bwMode="auto">
          <a:xfrm>
            <a:off x="833438" y="490538"/>
            <a:ext cx="177800" cy="152400"/>
          </a:xfrm>
          <a:prstGeom prst="triangle">
            <a:avLst>
              <a:gd name="adj" fmla="val 50000"/>
            </a:avLst>
          </a:prstGeom>
          <a:solidFill>
            <a:srgbClr val="197519">
              <a:alpha val="71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1" name="Rechteck 44"/>
          <p:cNvSpPr/>
          <p:nvPr/>
        </p:nvSpPr>
        <p:spPr>
          <a:xfrm>
            <a:off x="506095" y="1209789"/>
            <a:ext cx="11114405" cy="360000"/>
          </a:xfrm>
          <a:prstGeom prst="rect">
            <a:avLst/>
          </a:prstGeom>
          <a:solidFill>
            <a:srgbClr val="00B050"/>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altLang="de-DE" sz="2000" b="1" dirty="0">
                <a:solidFill>
                  <a:schemeClr val="bg1"/>
                </a:solidFill>
                <a:latin typeface="Daimler CS" pitchFamily="2" charset="0"/>
                <a:sym typeface="+mn-ea"/>
              </a:rPr>
              <a:t>What do we care when we talk about sustainability?</a:t>
            </a:r>
            <a:endParaRPr lang="de-DE" sz="2000" b="1" dirty="0">
              <a:solidFill>
                <a:schemeClr val="bg1"/>
              </a:solidFill>
              <a:latin typeface="Daimler CS" pitchFamily="2" charset="0"/>
            </a:endParaRPr>
          </a:p>
        </p:txBody>
      </p:sp>
      <p:sp>
        <p:nvSpPr>
          <p:cNvPr id="45" name="Textfeld 70"/>
          <p:cNvSpPr txBox="1"/>
          <p:nvPr/>
        </p:nvSpPr>
        <p:spPr>
          <a:xfrm>
            <a:off x="393908" y="1803517"/>
            <a:ext cx="631617" cy="576502"/>
          </a:xfrm>
          <a:prstGeom prst="roundRect">
            <a:avLst/>
          </a:prstGeom>
          <a:noFill/>
          <a:ln>
            <a:noFill/>
          </a:ln>
        </p:spPr>
        <p:style>
          <a:lnRef idx="0">
            <a:scrgbClr r="0" g="0" b="0"/>
          </a:lnRef>
          <a:fillRef idx="0">
            <a:scrgbClr r="0" g="0" b="0"/>
          </a:fillRef>
          <a:effectRef idx="0">
            <a:scrgbClr r="0" g="0" b="0"/>
          </a:effectRef>
          <a:fontRef idx="minor">
            <a:schemeClr val="dk1"/>
          </a:fontRef>
        </p:style>
        <p:txBody>
          <a:bodyPr wrap="square" lIns="72000" tIns="72000" rIns="72000" bIns="72000" rtlCol="0">
            <a:spAutoFit/>
          </a:bodyPr>
          <a:lstStyle/>
          <a:p>
            <a:pPr algn="ctr"/>
            <a:r>
              <a:rPr lang="de-DE" sz="2400" b="1" dirty="0">
                <a:solidFill>
                  <a:schemeClr val="bg1"/>
                </a:solidFill>
                <a:effectLst>
                  <a:outerShdw blurRad="38100" dist="19050" dir="2700000" algn="tl" rotWithShape="0">
                    <a:schemeClr val="dk1">
                      <a:lumMod val="50000"/>
                      <a:alpha val="40000"/>
                    </a:schemeClr>
                  </a:outerShdw>
                </a:effectLst>
                <a:latin typeface="Daimler CS" pitchFamily="2" charset="0"/>
              </a:rPr>
              <a:t>1</a:t>
            </a:r>
          </a:p>
        </p:txBody>
      </p:sp>
      <p:sp>
        <p:nvSpPr>
          <p:cNvPr id="46" name="Textfeld 72"/>
          <p:cNvSpPr txBox="1"/>
          <p:nvPr/>
        </p:nvSpPr>
        <p:spPr>
          <a:xfrm>
            <a:off x="8279765" y="1803517"/>
            <a:ext cx="647700" cy="569498"/>
          </a:xfrm>
          <a:prstGeom prst="roundRect">
            <a:avLst/>
          </a:prstGeom>
          <a:noFill/>
          <a:ln>
            <a:noFill/>
          </a:ln>
        </p:spPr>
        <p:style>
          <a:lnRef idx="0">
            <a:scrgbClr r="0" g="0" b="0"/>
          </a:lnRef>
          <a:fillRef idx="0">
            <a:scrgbClr r="0" g="0" b="0"/>
          </a:fillRef>
          <a:effectRef idx="0">
            <a:scrgbClr r="0" g="0" b="0"/>
          </a:effectRef>
          <a:fontRef idx="minor">
            <a:schemeClr val="dk1"/>
          </a:fontRef>
        </p:style>
        <p:txBody>
          <a:bodyPr wrap="square" lIns="72000" tIns="72000" rIns="72000" bIns="72000" rtlCol="0">
            <a:spAutoFit/>
          </a:bodyPr>
          <a:lstStyle/>
          <a:p>
            <a:pPr algn="ctr"/>
            <a:r>
              <a:rPr lang="de-DE" sz="2400" b="1" dirty="0">
                <a:solidFill>
                  <a:schemeClr val="bg1"/>
                </a:solidFill>
                <a:effectLst>
                  <a:outerShdw blurRad="38100" dist="19050" dir="2700000" algn="tl" rotWithShape="0">
                    <a:schemeClr val="dk1">
                      <a:lumMod val="50000"/>
                      <a:alpha val="40000"/>
                    </a:schemeClr>
                  </a:outerShdw>
                </a:effectLst>
                <a:latin typeface="Daimler CS" pitchFamily="2" charset="0"/>
              </a:rPr>
              <a:t>3</a:t>
            </a:r>
          </a:p>
        </p:txBody>
      </p:sp>
      <p:sp>
        <p:nvSpPr>
          <p:cNvPr id="50" name="Textfeld 71"/>
          <p:cNvSpPr txBox="1"/>
          <p:nvPr/>
        </p:nvSpPr>
        <p:spPr>
          <a:xfrm>
            <a:off x="4328795" y="1803517"/>
            <a:ext cx="647700" cy="569498"/>
          </a:xfrm>
          <a:prstGeom prst="roundRect">
            <a:avLst/>
          </a:prstGeom>
          <a:noFill/>
          <a:ln>
            <a:noFill/>
          </a:ln>
        </p:spPr>
        <p:style>
          <a:lnRef idx="0">
            <a:scrgbClr r="0" g="0" b="0"/>
          </a:lnRef>
          <a:fillRef idx="0">
            <a:scrgbClr r="0" g="0" b="0"/>
          </a:fillRef>
          <a:effectRef idx="0">
            <a:scrgbClr r="0" g="0" b="0"/>
          </a:effectRef>
          <a:fontRef idx="minor">
            <a:schemeClr val="dk1"/>
          </a:fontRef>
        </p:style>
        <p:txBody>
          <a:bodyPr wrap="square" lIns="72000" tIns="72000" rIns="72000" bIns="72000" rtlCol="0">
            <a:spAutoFit/>
          </a:bodyPr>
          <a:lstStyle/>
          <a:p>
            <a:pPr algn="ctr"/>
            <a:r>
              <a:rPr lang="de-DE" sz="2400" b="1" dirty="0">
                <a:solidFill>
                  <a:schemeClr val="bg1"/>
                </a:solidFill>
                <a:effectLst>
                  <a:outerShdw blurRad="38100" dist="19050" dir="2700000" algn="tl" rotWithShape="0">
                    <a:schemeClr val="dk1">
                      <a:lumMod val="50000"/>
                      <a:alpha val="40000"/>
                    </a:schemeClr>
                  </a:outerShdw>
                </a:effectLst>
                <a:latin typeface="Daimler CS" pitchFamily="2" charset="0"/>
              </a:rPr>
              <a:t>2</a:t>
            </a:r>
          </a:p>
        </p:txBody>
      </p:sp>
      <p:sp>
        <p:nvSpPr>
          <p:cNvPr id="4" name="矩形 3"/>
          <p:cNvSpPr>
            <a:spLocks noChangeArrowheads="1"/>
          </p:cNvSpPr>
          <p:nvPr/>
        </p:nvSpPr>
        <p:spPr bwMode="auto">
          <a:xfrm>
            <a:off x="1061623" y="396012"/>
            <a:ext cx="495456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altLang="zh-CN" sz="3200" b="1" dirty="0">
                <a:solidFill>
                  <a:srgbClr val="197519"/>
                </a:solidFill>
                <a:latin typeface="Calibri" panose="020F0502020204030204" pitchFamily="34" charset="0"/>
                <a:cs typeface="Calibri" panose="020F0502020204030204" pitchFamily="34" charset="0"/>
              </a:rPr>
              <a:t>Sustainability Requirements</a:t>
            </a:r>
          </a:p>
        </p:txBody>
      </p:sp>
      <p:sp>
        <p:nvSpPr>
          <p:cNvPr id="5" name="矩形 4"/>
          <p:cNvSpPr>
            <a:spLocks noChangeArrowheads="1"/>
          </p:cNvSpPr>
          <p:nvPr/>
        </p:nvSpPr>
        <p:spPr bwMode="auto">
          <a:xfrm>
            <a:off x="1192701" y="1832928"/>
            <a:ext cx="1967526" cy="519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lnSpc>
                <a:spcPct val="125000"/>
              </a:lnSpc>
            </a:pPr>
            <a:r>
              <a:rPr lang="en-US" altLang="zh-CN" sz="2400" b="1" dirty="0">
                <a:solidFill>
                  <a:schemeClr val="bg1"/>
                </a:solidFill>
                <a:latin typeface="Calibri" panose="020F0502020204030204" pitchFamily="34" charset="0"/>
                <a:cs typeface="Calibri" panose="020F0502020204030204" pitchFamily="34" charset="0"/>
              </a:rPr>
              <a:t>Human Rights</a:t>
            </a:r>
          </a:p>
        </p:txBody>
      </p:sp>
      <p:sp>
        <p:nvSpPr>
          <p:cNvPr id="6" name="矩形 5"/>
          <p:cNvSpPr>
            <a:spLocks noChangeArrowheads="1"/>
          </p:cNvSpPr>
          <p:nvPr/>
        </p:nvSpPr>
        <p:spPr bwMode="auto">
          <a:xfrm>
            <a:off x="5126526" y="1832928"/>
            <a:ext cx="2184059" cy="519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lnSpc>
                <a:spcPct val="125000"/>
              </a:lnSpc>
            </a:pPr>
            <a:r>
              <a:rPr lang="en-US" altLang="zh-CN" sz="2400" b="1" dirty="0">
                <a:solidFill>
                  <a:schemeClr val="bg1"/>
                </a:solidFill>
                <a:latin typeface="Calibri" panose="020F0502020204030204" pitchFamily="34" charset="0"/>
                <a:cs typeface="Calibri" panose="020F0502020204030204" pitchFamily="34" charset="0"/>
              </a:rPr>
              <a:t>Health &amp; Safety</a:t>
            </a:r>
          </a:p>
        </p:txBody>
      </p:sp>
      <p:sp>
        <p:nvSpPr>
          <p:cNvPr id="7" name="矩形 6"/>
          <p:cNvSpPr>
            <a:spLocks noChangeArrowheads="1"/>
          </p:cNvSpPr>
          <p:nvPr/>
        </p:nvSpPr>
        <p:spPr bwMode="auto">
          <a:xfrm>
            <a:off x="9138082" y="1850708"/>
            <a:ext cx="1827936" cy="519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lnSpc>
                <a:spcPct val="125000"/>
              </a:lnSpc>
            </a:pPr>
            <a:r>
              <a:rPr lang="en-US" altLang="zh-CN" sz="2400" b="1" dirty="0">
                <a:solidFill>
                  <a:schemeClr val="bg1"/>
                </a:solidFill>
                <a:latin typeface="Calibri" panose="020F0502020204030204" pitchFamily="34" charset="0"/>
                <a:cs typeface="Calibri" panose="020F0502020204030204" pitchFamily="34" charset="0"/>
              </a:rPr>
              <a:t>Environment</a:t>
            </a:r>
          </a:p>
        </p:txBody>
      </p:sp>
      <p:sp>
        <p:nvSpPr>
          <p:cNvPr id="60" name="文本框 59"/>
          <p:cNvSpPr txBox="1"/>
          <p:nvPr/>
        </p:nvSpPr>
        <p:spPr>
          <a:xfrm>
            <a:off x="667385" y="2459355"/>
            <a:ext cx="3125470" cy="2584450"/>
          </a:xfrm>
          <a:prstGeom prst="rect">
            <a:avLst/>
          </a:prstGeom>
          <a:noFill/>
        </p:spPr>
        <p:txBody>
          <a:bodyPr wrap="square" lIns="0" rtlCol="0">
            <a:spAutoFit/>
          </a:bodyPr>
          <a:lstStyle/>
          <a:p>
            <a:pPr marL="285750" indent="-285750" eaLnBrk="1" latinLnBrk="0" hangingPunct="1">
              <a:lnSpc>
                <a:spcPct val="150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Freely-Chosen</a:t>
            </a:r>
            <a:r>
              <a:rPr lang="en-US" altLang="zh-CN" sz="1800" dirty="0">
                <a:solidFill>
                  <a:schemeClr val="bg1"/>
                </a:solidFill>
                <a:latin typeface="Calibri" panose="020F0502020204030204" pitchFamily="34" charset="0"/>
                <a:cs typeface="Calibri" panose="020F0502020204030204" pitchFamily="34" charset="0"/>
              </a:rPr>
              <a:t> </a:t>
            </a:r>
            <a:r>
              <a:rPr lang="zh-CN" altLang="en-US" sz="1800" dirty="0">
                <a:solidFill>
                  <a:schemeClr val="bg1"/>
                </a:solidFill>
                <a:latin typeface="Calibri" panose="020F0502020204030204" pitchFamily="34" charset="0"/>
                <a:cs typeface="Calibri" panose="020F0502020204030204" pitchFamily="34" charset="0"/>
              </a:rPr>
              <a:t>Employment</a:t>
            </a:r>
          </a:p>
          <a:p>
            <a:pPr marL="285750" indent="-285750" eaLnBrk="1" latinLnBrk="0" hangingPunct="1">
              <a:lnSpc>
                <a:spcPct val="150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Employment Contract</a:t>
            </a:r>
          </a:p>
          <a:p>
            <a:pPr marL="285750" indent="-285750" eaLnBrk="1" latinLnBrk="0" hangingPunct="1">
              <a:lnSpc>
                <a:spcPct val="150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Working Hours</a:t>
            </a:r>
          </a:p>
          <a:p>
            <a:pPr marL="285750" indent="-285750" eaLnBrk="1" latinLnBrk="0" hangingPunct="1">
              <a:lnSpc>
                <a:spcPct val="150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Wages and Benefit</a:t>
            </a:r>
          </a:p>
          <a:p>
            <a:pPr marL="285750" indent="-285750" eaLnBrk="1" latinLnBrk="0" hangingPunct="1">
              <a:lnSpc>
                <a:spcPct val="150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Human Treatment</a:t>
            </a:r>
          </a:p>
          <a:p>
            <a:pPr marL="285750" indent="-285750" eaLnBrk="1" latinLnBrk="0" hangingPunct="1">
              <a:lnSpc>
                <a:spcPct val="150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Non-Discrimination</a:t>
            </a:r>
          </a:p>
        </p:txBody>
      </p:sp>
      <p:sp>
        <p:nvSpPr>
          <p:cNvPr id="8" name="文本框 7"/>
          <p:cNvSpPr txBox="1"/>
          <p:nvPr/>
        </p:nvSpPr>
        <p:spPr>
          <a:xfrm>
            <a:off x="4580890" y="2459355"/>
            <a:ext cx="3125470" cy="3271520"/>
          </a:xfrm>
          <a:prstGeom prst="rect">
            <a:avLst/>
          </a:prstGeom>
          <a:noFill/>
        </p:spPr>
        <p:txBody>
          <a:bodyPr wrap="square" lIns="0" rtlCol="0">
            <a:spAutoFit/>
          </a:bodyPr>
          <a:lstStyle/>
          <a:p>
            <a:pPr marL="285750" indent="-285750" eaLnBrk="1" latinLnBrk="0" hangingPunct="1">
              <a:lnSpc>
                <a:spcPct val="115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Occupational Safety Licenses and Permits</a:t>
            </a:r>
          </a:p>
          <a:p>
            <a:pPr marL="285750" indent="-285750" eaLnBrk="1" latinLnBrk="0" hangingPunct="1">
              <a:lnSpc>
                <a:spcPct val="115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Machine Safeguarding and Hazard Control</a:t>
            </a:r>
          </a:p>
          <a:p>
            <a:pPr marL="285750" indent="-285750" eaLnBrk="1" latinLnBrk="0" hangingPunct="1">
              <a:lnSpc>
                <a:spcPct val="115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Occupational Health Check and Risk Control</a:t>
            </a:r>
          </a:p>
          <a:p>
            <a:pPr marL="285750" indent="-285750" eaLnBrk="1" latinLnBrk="0" hangingPunct="1">
              <a:lnSpc>
                <a:spcPct val="115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Emergency Preparedness</a:t>
            </a:r>
          </a:p>
          <a:p>
            <a:pPr marL="285750" indent="-285750" eaLnBrk="1" latinLnBrk="0" hangingPunct="1">
              <a:lnSpc>
                <a:spcPct val="115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Sanitation, Food and Housing</a:t>
            </a:r>
          </a:p>
          <a:p>
            <a:pPr marL="285750" indent="-285750" eaLnBrk="1" latinLnBrk="0" hangingPunct="1">
              <a:lnSpc>
                <a:spcPct val="115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Health and Safety Communication</a:t>
            </a:r>
          </a:p>
        </p:txBody>
      </p:sp>
      <p:sp>
        <p:nvSpPr>
          <p:cNvPr id="9" name="文本框 8"/>
          <p:cNvSpPr txBox="1"/>
          <p:nvPr/>
        </p:nvSpPr>
        <p:spPr>
          <a:xfrm>
            <a:off x="8494395" y="2459355"/>
            <a:ext cx="3125470" cy="3277820"/>
          </a:xfrm>
          <a:prstGeom prst="rect">
            <a:avLst/>
          </a:prstGeom>
          <a:noFill/>
        </p:spPr>
        <p:txBody>
          <a:bodyPr wrap="square" lIns="0" rtlCol="0">
            <a:spAutoFit/>
          </a:bodyPr>
          <a:lstStyle/>
          <a:p>
            <a:pPr marL="285750" indent="-285750" eaLnBrk="1" latinLnBrk="0" hangingPunct="1">
              <a:lnSpc>
                <a:spcPct val="115000"/>
              </a:lnSpc>
              <a:buFont typeface="Arial" panose="020B0604020202020204" pitchFamily="34" charset="0"/>
              <a:buChar char="•"/>
            </a:pPr>
            <a:r>
              <a:rPr dirty="0">
                <a:solidFill>
                  <a:schemeClr val="bg1"/>
                </a:solidFill>
                <a:latin typeface="Calibri" panose="020F0502020204030204" pitchFamily="34" charset="0"/>
                <a:cs typeface="Calibri" panose="020F0502020204030204" pitchFamily="34" charset="0"/>
              </a:rPr>
              <a:t>Environmental Permits and Reporting</a:t>
            </a:r>
          </a:p>
          <a:p>
            <a:pPr marL="285750" indent="-285750" eaLnBrk="1" latinLnBrk="0" hangingPunct="1">
              <a:lnSpc>
                <a:spcPct val="115000"/>
              </a:lnSpc>
              <a:buFont typeface="Arial" panose="020B0604020202020204" pitchFamily="34" charset="0"/>
              <a:buChar char="•"/>
            </a:pPr>
            <a:r>
              <a:rPr dirty="0">
                <a:solidFill>
                  <a:schemeClr val="bg1"/>
                </a:solidFill>
                <a:latin typeface="Calibri" panose="020F0502020204030204" pitchFamily="34" charset="0"/>
                <a:cs typeface="Calibri" panose="020F0502020204030204" pitchFamily="34" charset="0"/>
              </a:rPr>
              <a:t>Chemicals and Hazardous Substance Management</a:t>
            </a:r>
          </a:p>
          <a:p>
            <a:pPr marL="285750" indent="-285750" eaLnBrk="1" latinLnBrk="0" hangingPunct="1">
              <a:lnSpc>
                <a:spcPct val="115000"/>
              </a:lnSpc>
              <a:buFont typeface="Arial" panose="020B0604020202020204" pitchFamily="34" charset="0"/>
              <a:buChar char="•"/>
            </a:pPr>
            <a:r>
              <a:rPr dirty="0">
                <a:solidFill>
                  <a:schemeClr val="bg1"/>
                </a:solidFill>
                <a:latin typeface="Calibri" panose="020F0502020204030204" pitchFamily="34" charset="0"/>
                <a:cs typeface="Calibri" panose="020F0502020204030204" pitchFamily="34" charset="0"/>
              </a:rPr>
              <a:t>Pollution Prevention and Resource Reduction</a:t>
            </a:r>
          </a:p>
          <a:p>
            <a:pPr marL="285750" indent="-285750" eaLnBrk="1" latinLnBrk="0" hangingPunct="1">
              <a:lnSpc>
                <a:spcPct val="115000"/>
              </a:lnSpc>
              <a:buFont typeface="Arial" panose="020B0604020202020204" pitchFamily="34" charset="0"/>
              <a:buChar char="•"/>
            </a:pPr>
            <a:r>
              <a:rPr dirty="0">
                <a:solidFill>
                  <a:schemeClr val="bg1"/>
                </a:solidFill>
                <a:latin typeface="Calibri" panose="020F0502020204030204" pitchFamily="34" charset="0"/>
                <a:cs typeface="Calibri" panose="020F0502020204030204" pitchFamily="34" charset="0"/>
              </a:rPr>
              <a:t>Waste and Emission Management</a:t>
            </a:r>
          </a:p>
          <a:p>
            <a:pPr marL="285750" indent="-285750" eaLnBrk="1" latinLnBrk="0" hangingPunct="1">
              <a:lnSpc>
                <a:spcPct val="115000"/>
              </a:lnSpc>
              <a:buFont typeface="Arial" panose="020B0604020202020204" pitchFamily="34" charset="0"/>
              <a:buChar char="•"/>
            </a:pPr>
            <a:r>
              <a:rPr dirty="0">
                <a:solidFill>
                  <a:schemeClr val="bg1"/>
                </a:solidFill>
                <a:latin typeface="Calibri" panose="020F0502020204030204" pitchFamily="34" charset="0"/>
                <a:cs typeface="Calibri" panose="020F0502020204030204" pitchFamily="34" charset="0"/>
              </a:rPr>
              <a:t>Energy Consumption and Greenhouse Gas Emissions</a:t>
            </a:r>
          </a:p>
        </p:txBody>
      </p:sp>
    </p:spTree>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任意多边形 1"/>
          <p:cNvSpPr>
            <a:spLocks noChangeArrowheads="1"/>
          </p:cNvSpPr>
          <p:nvPr/>
        </p:nvSpPr>
        <p:spPr bwMode="auto">
          <a:xfrm>
            <a:off x="6732905" y="1813560"/>
            <a:ext cx="4860000" cy="4010025"/>
          </a:xfrm>
          <a:custGeom>
            <a:avLst/>
            <a:gdLst>
              <a:gd name="T0" fmla="*/ 565697 w 2361393"/>
              <a:gd name="T1" fmla="*/ 0 h 2376962"/>
              <a:gd name="T2" fmla="*/ 2361393 w 2361393"/>
              <a:gd name="T3" fmla="*/ 0 h 2376962"/>
              <a:gd name="T4" fmla="*/ 2361393 w 2361393"/>
              <a:gd name="T5" fmla="*/ 2376962 h 2376962"/>
              <a:gd name="T6" fmla="*/ 0 w 2361393"/>
              <a:gd name="T7" fmla="*/ 2376962 h 2376962"/>
              <a:gd name="T8" fmla="*/ 0 w 2361393"/>
              <a:gd name="T9" fmla="*/ 560506 h 2376962"/>
              <a:gd name="T10" fmla="*/ 0 w 2361393"/>
              <a:gd name="T11" fmla="*/ 0 h 2376962"/>
              <a:gd name="T12" fmla="*/ 503419 w 2361393"/>
              <a:gd name="T13" fmla="*/ 0 h 2376962"/>
              <a:gd name="T14" fmla="*/ 0 w 2361393"/>
              <a:gd name="T15" fmla="*/ 498227 h 23769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1393" h="2376962">
                <a:moveTo>
                  <a:pt x="565697" y="0"/>
                </a:moveTo>
                <a:lnTo>
                  <a:pt x="2361393" y="0"/>
                </a:lnTo>
                <a:lnTo>
                  <a:pt x="2361393" y="2376962"/>
                </a:lnTo>
                <a:lnTo>
                  <a:pt x="0" y="2376962"/>
                </a:lnTo>
                <a:lnTo>
                  <a:pt x="0" y="560506"/>
                </a:lnTo>
                <a:close/>
                <a:moveTo>
                  <a:pt x="0" y="0"/>
                </a:moveTo>
                <a:lnTo>
                  <a:pt x="503419" y="0"/>
                </a:lnTo>
                <a:lnTo>
                  <a:pt x="0" y="498227"/>
                </a:lnTo>
                <a:close/>
              </a:path>
            </a:pathLst>
          </a:custGeom>
          <a:solidFill>
            <a:srgbClr val="197519"/>
          </a:solidFill>
          <a:ln>
            <a:noFill/>
          </a:ln>
          <a:extLst>
            <a:ext uri="{91240B29-F687-4F45-9708-019B960494DF}">
              <a14:hiddenLine xmlns:a14="http://schemas.microsoft.com/office/drawing/2010/main" w="9525">
                <a:solidFill>
                  <a:srgbClr val="000000"/>
                </a:solidFill>
                <a:round/>
              </a14:hiddenLine>
            </a:ext>
          </a:extLst>
        </p:spPr>
        <p:txBody>
          <a:bodyPr/>
          <a:lstStyle/>
          <a:p>
            <a:pPr algn="ctr"/>
            <a:endParaRPr lang="de-DE" b="1" dirty="0">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Daimler CS" pitchFamily="2" charset="0"/>
            </a:endParaRPr>
          </a:p>
        </p:txBody>
      </p:sp>
      <p:cxnSp>
        <p:nvCxnSpPr>
          <p:cNvPr id="66" name="直接连接符 65"/>
          <p:cNvCxnSpPr/>
          <p:nvPr/>
        </p:nvCxnSpPr>
        <p:spPr>
          <a:xfrm>
            <a:off x="552450" y="6067425"/>
            <a:ext cx="11068050" cy="0"/>
          </a:xfrm>
          <a:prstGeom prst="line">
            <a:avLst/>
          </a:prstGeom>
          <a:ln w="85725"/>
        </p:spPr>
        <p:style>
          <a:lnRef idx="1">
            <a:schemeClr val="accent1"/>
          </a:lnRef>
          <a:fillRef idx="0">
            <a:schemeClr val="accent1"/>
          </a:fillRef>
          <a:effectRef idx="0">
            <a:schemeClr val="accent1"/>
          </a:effectRef>
          <a:fontRef idx="minor">
            <a:schemeClr val="tx1"/>
          </a:fontRef>
        </p:style>
      </p:cxnSp>
      <p:sp>
        <p:nvSpPr>
          <p:cNvPr id="34" name="等腰三角形 33"/>
          <p:cNvSpPr>
            <a:spLocks noChangeArrowheads="1"/>
          </p:cNvSpPr>
          <p:nvPr/>
        </p:nvSpPr>
        <p:spPr bwMode="auto">
          <a:xfrm rot="9233090">
            <a:off x="11190288" y="6661150"/>
            <a:ext cx="120650" cy="104775"/>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5" name="等腰三角形 34"/>
          <p:cNvSpPr>
            <a:spLocks noChangeArrowheads="1"/>
          </p:cNvSpPr>
          <p:nvPr/>
        </p:nvSpPr>
        <p:spPr bwMode="auto">
          <a:xfrm rot="-6030424">
            <a:off x="10948194" y="6634956"/>
            <a:ext cx="180975" cy="157163"/>
          </a:xfrm>
          <a:prstGeom prst="triangle">
            <a:avLst>
              <a:gd name="adj" fmla="val 50000"/>
            </a:avLst>
          </a:prstGeom>
          <a:solidFill>
            <a:srgbClr val="309030"/>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9" name="等腰三角形 38"/>
          <p:cNvSpPr>
            <a:spLocks noChangeArrowheads="1"/>
          </p:cNvSpPr>
          <p:nvPr/>
        </p:nvSpPr>
        <p:spPr bwMode="auto">
          <a:xfrm rot="-228606">
            <a:off x="11403013" y="6643688"/>
            <a:ext cx="122237" cy="104775"/>
          </a:xfrm>
          <a:prstGeom prst="triangle">
            <a:avLst>
              <a:gd name="adj" fmla="val 50000"/>
            </a:avLst>
          </a:prstGeom>
          <a:solidFill>
            <a:srgbClr val="2B7E2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40" name="等腰三角形 39"/>
          <p:cNvSpPr>
            <a:spLocks noChangeArrowheads="1"/>
          </p:cNvSpPr>
          <p:nvPr/>
        </p:nvSpPr>
        <p:spPr bwMode="auto">
          <a:xfrm rot="-3389783">
            <a:off x="11143456" y="6571457"/>
            <a:ext cx="58737" cy="50800"/>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53" name="等腰三角形 52"/>
          <p:cNvSpPr>
            <a:spLocks noChangeArrowheads="1"/>
          </p:cNvSpPr>
          <p:nvPr/>
        </p:nvSpPr>
        <p:spPr bwMode="auto">
          <a:xfrm rot="8748521">
            <a:off x="11333163" y="6657975"/>
            <a:ext cx="58737" cy="49213"/>
          </a:xfrm>
          <a:prstGeom prst="triangle">
            <a:avLst>
              <a:gd name="adj" fmla="val 50000"/>
            </a:avLst>
          </a:prstGeom>
          <a:solidFill>
            <a:srgbClr val="559551"/>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38" name="任意多边形 37"/>
          <p:cNvSpPr>
            <a:spLocks noChangeArrowheads="1"/>
          </p:cNvSpPr>
          <p:nvPr/>
        </p:nvSpPr>
        <p:spPr bwMode="auto">
          <a:xfrm>
            <a:off x="552450" y="1816100"/>
            <a:ext cx="4788000" cy="4019550"/>
          </a:xfrm>
          <a:custGeom>
            <a:avLst/>
            <a:gdLst>
              <a:gd name="T0" fmla="*/ 565697 w 2361393"/>
              <a:gd name="T1" fmla="*/ 0 h 2376962"/>
              <a:gd name="T2" fmla="*/ 2361393 w 2361393"/>
              <a:gd name="T3" fmla="*/ 0 h 2376962"/>
              <a:gd name="T4" fmla="*/ 2361393 w 2361393"/>
              <a:gd name="T5" fmla="*/ 2376962 h 2376962"/>
              <a:gd name="T6" fmla="*/ 0 w 2361393"/>
              <a:gd name="T7" fmla="*/ 2376962 h 2376962"/>
              <a:gd name="T8" fmla="*/ 0 w 2361393"/>
              <a:gd name="T9" fmla="*/ 560506 h 2376962"/>
              <a:gd name="T10" fmla="*/ 0 w 2361393"/>
              <a:gd name="T11" fmla="*/ 0 h 2376962"/>
              <a:gd name="T12" fmla="*/ 503419 w 2361393"/>
              <a:gd name="T13" fmla="*/ 0 h 2376962"/>
              <a:gd name="T14" fmla="*/ 0 w 2361393"/>
              <a:gd name="T15" fmla="*/ 498227 h 23769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1393" h="2376962">
                <a:moveTo>
                  <a:pt x="565697" y="0"/>
                </a:moveTo>
                <a:lnTo>
                  <a:pt x="2361393" y="0"/>
                </a:lnTo>
                <a:lnTo>
                  <a:pt x="2361393" y="2376962"/>
                </a:lnTo>
                <a:lnTo>
                  <a:pt x="0" y="2376962"/>
                </a:lnTo>
                <a:lnTo>
                  <a:pt x="0" y="560506"/>
                </a:lnTo>
                <a:close/>
                <a:moveTo>
                  <a:pt x="0" y="0"/>
                </a:moveTo>
                <a:lnTo>
                  <a:pt x="503419" y="0"/>
                </a:lnTo>
                <a:lnTo>
                  <a:pt x="0" y="498227"/>
                </a:lnTo>
                <a:close/>
              </a:path>
            </a:pathLst>
          </a:custGeom>
          <a:solidFill>
            <a:srgbClr val="197519"/>
          </a:solidFill>
          <a:ln>
            <a:noFill/>
          </a:ln>
          <a:extLst>
            <a:ext uri="{91240B29-F687-4F45-9708-019B960494DF}">
              <a14:hiddenLine xmlns:a14="http://schemas.microsoft.com/office/drawing/2010/main" w="9525">
                <a:solidFill>
                  <a:srgbClr val="000000"/>
                </a:solidFill>
                <a:round/>
              </a14:hiddenLine>
            </a:ext>
          </a:extLst>
        </p:spPr>
        <p:txBody>
          <a:bodyPr/>
          <a:lstStyle/>
          <a:p>
            <a:pPr algn="ctr"/>
            <a:endParaRPr lang="de-DE" b="1" dirty="0">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Daimler CS" pitchFamily="2" charset="0"/>
            </a:endParaRPr>
          </a:p>
        </p:txBody>
      </p:sp>
      <p:sp>
        <p:nvSpPr>
          <p:cNvPr id="67" name="文本框 66"/>
          <p:cNvSpPr txBox="1">
            <a:spLocks noChangeArrowheads="1"/>
          </p:cNvSpPr>
          <p:nvPr/>
        </p:nvSpPr>
        <p:spPr bwMode="auto">
          <a:xfrm>
            <a:off x="11364913" y="6524625"/>
            <a:ext cx="617537"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1500">
                <a:solidFill>
                  <a:srgbClr val="197519"/>
                </a:solidFill>
                <a:ea typeface="方正粗倩简体" pitchFamily="65" charset="-122"/>
              </a:rPr>
              <a:t>18</a:t>
            </a:r>
            <a:endParaRPr lang="zh-CN" altLang="en-US" sz="1500">
              <a:solidFill>
                <a:srgbClr val="197519"/>
              </a:solidFill>
              <a:ea typeface="方正粗倩简体" pitchFamily="65" charset="-122"/>
            </a:endParaRPr>
          </a:p>
        </p:txBody>
      </p:sp>
      <p:sp>
        <p:nvSpPr>
          <p:cNvPr id="48" name="等腰三角形 47"/>
          <p:cNvSpPr>
            <a:spLocks noChangeArrowheads="1"/>
          </p:cNvSpPr>
          <p:nvPr/>
        </p:nvSpPr>
        <p:spPr bwMode="auto">
          <a:xfrm>
            <a:off x="196850" y="360363"/>
            <a:ext cx="563563" cy="485775"/>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4" name="等腰三角形 53"/>
          <p:cNvSpPr>
            <a:spLocks noChangeArrowheads="1"/>
          </p:cNvSpPr>
          <p:nvPr/>
        </p:nvSpPr>
        <p:spPr bwMode="auto">
          <a:xfrm>
            <a:off x="760413" y="696913"/>
            <a:ext cx="265112" cy="228600"/>
          </a:xfrm>
          <a:prstGeom prst="triangle">
            <a:avLst>
              <a:gd name="adj" fmla="val 50000"/>
            </a:avLst>
          </a:prstGeom>
          <a:solidFill>
            <a:srgbClr val="197519">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6" name="等腰三角形 55"/>
          <p:cNvSpPr>
            <a:spLocks noChangeArrowheads="1"/>
          </p:cNvSpPr>
          <p:nvPr/>
        </p:nvSpPr>
        <p:spPr bwMode="auto">
          <a:xfrm flipH="1">
            <a:off x="630238" y="469900"/>
            <a:ext cx="85725" cy="74613"/>
          </a:xfrm>
          <a:prstGeom prst="triangle">
            <a:avLst>
              <a:gd name="adj" fmla="val 50000"/>
            </a:avLst>
          </a:prstGeom>
          <a:solidFill>
            <a:srgbClr val="197519">
              <a:alpha val="46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61" name="等腰三角形 60"/>
          <p:cNvSpPr>
            <a:spLocks noChangeArrowheads="1"/>
          </p:cNvSpPr>
          <p:nvPr/>
        </p:nvSpPr>
        <p:spPr bwMode="auto">
          <a:xfrm>
            <a:off x="833438" y="490538"/>
            <a:ext cx="177800" cy="152400"/>
          </a:xfrm>
          <a:prstGeom prst="triangle">
            <a:avLst>
              <a:gd name="adj" fmla="val 50000"/>
            </a:avLst>
          </a:prstGeom>
          <a:solidFill>
            <a:srgbClr val="197519">
              <a:alpha val="71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1" name="Rechteck 44"/>
          <p:cNvSpPr/>
          <p:nvPr/>
        </p:nvSpPr>
        <p:spPr>
          <a:xfrm>
            <a:off x="506095" y="1209789"/>
            <a:ext cx="11114405" cy="360000"/>
          </a:xfrm>
          <a:prstGeom prst="rect">
            <a:avLst/>
          </a:prstGeom>
          <a:solidFill>
            <a:srgbClr val="00B050"/>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altLang="de-DE" sz="2000" b="1" dirty="0">
                <a:solidFill>
                  <a:schemeClr val="bg1"/>
                </a:solidFill>
                <a:latin typeface="Daimler CS" pitchFamily="2" charset="0"/>
                <a:sym typeface="+mn-ea"/>
              </a:rPr>
              <a:t>What do we care when we talk sustainability?</a:t>
            </a:r>
            <a:endParaRPr lang="de-DE" sz="2000" b="1" dirty="0">
              <a:solidFill>
                <a:schemeClr val="bg1"/>
              </a:solidFill>
              <a:latin typeface="Daimler CS" pitchFamily="2" charset="0"/>
            </a:endParaRPr>
          </a:p>
        </p:txBody>
      </p:sp>
      <p:sp>
        <p:nvSpPr>
          <p:cNvPr id="45" name="Textfeld 70"/>
          <p:cNvSpPr txBox="1"/>
          <p:nvPr/>
        </p:nvSpPr>
        <p:spPr>
          <a:xfrm>
            <a:off x="393908" y="1803517"/>
            <a:ext cx="631617" cy="576502"/>
          </a:xfrm>
          <a:prstGeom prst="roundRect">
            <a:avLst/>
          </a:prstGeom>
          <a:noFill/>
          <a:ln>
            <a:noFill/>
          </a:ln>
        </p:spPr>
        <p:style>
          <a:lnRef idx="0">
            <a:scrgbClr r="0" g="0" b="0"/>
          </a:lnRef>
          <a:fillRef idx="0">
            <a:scrgbClr r="0" g="0" b="0"/>
          </a:fillRef>
          <a:effectRef idx="0">
            <a:scrgbClr r="0" g="0" b="0"/>
          </a:effectRef>
          <a:fontRef idx="minor">
            <a:schemeClr val="dk1"/>
          </a:fontRef>
        </p:style>
        <p:txBody>
          <a:bodyPr wrap="square" lIns="72000" tIns="72000" rIns="72000" bIns="72000" rtlCol="0">
            <a:spAutoFit/>
          </a:bodyPr>
          <a:lstStyle/>
          <a:p>
            <a:pPr algn="ctr"/>
            <a:r>
              <a:rPr lang="de-DE" sz="2400" b="1" dirty="0">
                <a:solidFill>
                  <a:schemeClr val="bg1"/>
                </a:solidFill>
                <a:effectLst>
                  <a:outerShdw blurRad="38100" dist="19050" dir="2700000" algn="tl" rotWithShape="0">
                    <a:schemeClr val="dk1">
                      <a:lumMod val="50000"/>
                      <a:alpha val="40000"/>
                    </a:schemeClr>
                  </a:outerShdw>
                </a:effectLst>
                <a:latin typeface="Daimler CS" pitchFamily="2" charset="0"/>
              </a:rPr>
              <a:t>4</a:t>
            </a:r>
          </a:p>
        </p:txBody>
      </p:sp>
      <p:sp>
        <p:nvSpPr>
          <p:cNvPr id="50" name="Textfeld 71"/>
          <p:cNvSpPr txBox="1"/>
          <p:nvPr/>
        </p:nvSpPr>
        <p:spPr>
          <a:xfrm>
            <a:off x="6597650" y="1803517"/>
            <a:ext cx="647700" cy="569498"/>
          </a:xfrm>
          <a:prstGeom prst="roundRect">
            <a:avLst/>
          </a:prstGeom>
          <a:noFill/>
          <a:ln>
            <a:noFill/>
          </a:ln>
        </p:spPr>
        <p:style>
          <a:lnRef idx="0">
            <a:scrgbClr r="0" g="0" b="0"/>
          </a:lnRef>
          <a:fillRef idx="0">
            <a:scrgbClr r="0" g="0" b="0"/>
          </a:fillRef>
          <a:effectRef idx="0">
            <a:scrgbClr r="0" g="0" b="0"/>
          </a:effectRef>
          <a:fontRef idx="minor">
            <a:schemeClr val="dk1"/>
          </a:fontRef>
        </p:style>
        <p:txBody>
          <a:bodyPr wrap="square" lIns="72000" tIns="72000" rIns="72000" bIns="72000" rtlCol="0">
            <a:spAutoFit/>
          </a:bodyPr>
          <a:lstStyle/>
          <a:p>
            <a:pPr algn="ctr"/>
            <a:r>
              <a:rPr lang="de-DE" sz="2400" b="1" dirty="0">
                <a:solidFill>
                  <a:schemeClr val="bg1"/>
                </a:solidFill>
                <a:effectLst>
                  <a:outerShdw blurRad="38100" dist="19050" dir="2700000" algn="tl" rotWithShape="0">
                    <a:schemeClr val="dk1">
                      <a:lumMod val="50000"/>
                      <a:alpha val="40000"/>
                    </a:schemeClr>
                  </a:outerShdw>
                </a:effectLst>
                <a:latin typeface="Daimler CS" pitchFamily="2" charset="0"/>
              </a:rPr>
              <a:t>5</a:t>
            </a:r>
          </a:p>
        </p:txBody>
      </p:sp>
      <p:sp>
        <p:nvSpPr>
          <p:cNvPr id="4" name="矩形 3"/>
          <p:cNvSpPr>
            <a:spLocks noChangeArrowheads="1"/>
          </p:cNvSpPr>
          <p:nvPr/>
        </p:nvSpPr>
        <p:spPr bwMode="auto">
          <a:xfrm>
            <a:off x="942967" y="381613"/>
            <a:ext cx="495456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altLang="zh-CN" sz="3200" b="1" dirty="0">
                <a:solidFill>
                  <a:srgbClr val="197519"/>
                </a:solidFill>
                <a:latin typeface="Calibri" panose="020F0502020204030204" pitchFamily="34" charset="0"/>
                <a:cs typeface="Calibri" panose="020F0502020204030204" pitchFamily="34" charset="0"/>
              </a:rPr>
              <a:t>Sustainability Requirements</a:t>
            </a:r>
            <a:endParaRPr lang="en-US" altLang="de-DE" sz="2400" b="1" dirty="0">
              <a:solidFill>
                <a:schemeClr val="accent1"/>
              </a:solidFill>
            </a:endParaRPr>
          </a:p>
        </p:txBody>
      </p:sp>
      <p:sp>
        <p:nvSpPr>
          <p:cNvPr id="5" name="矩形 4"/>
          <p:cNvSpPr>
            <a:spLocks noChangeArrowheads="1"/>
          </p:cNvSpPr>
          <p:nvPr/>
        </p:nvSpPr>
        <p:spPr bwMode="auto">
          <a:xfrm>
            <a:off x="1744967" y="1853248"/>
            <a:ext cx="2103781" cy="519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lnSpc>
                <a:spcPct val="125000"/>
              </a:lnSpc>
            </a:pPr>
            <a:r>
              <a:rPr lang="en-US" altLang="zh-CN" sz="2400" b="1" dirty="0">
                <a:solidFill>
                  <a:schemeClr val="bg1"/>
                </a:solidFill>
                <a:latin typeface="Calibri" panose="020F0502020204030204" pitchFamily="34" charset="0"/>
                <a:cs typeface="Calibri" panose="020F0502020204030204" pitchFamily="34" charset="0"/>
              </a:rPr>
              <a:t>Business Ethics</a:t>
            </a:r>
          </a:p>
        </p:txBody>
      </p:sp>
      <p:sp>
        <p:nvSpPr>
          <p:cNvPr id="6" name="矩形 5"/>
          <p:cNvSpPr>
            <a:spLocks noChangeArrowheads="1"/>
          </p:cNvSpPr>
          <p:nvPr/>
        </p:nvSpPr>
        <p:spPr bwMode="auto">
          <a:xfrm>
            <a:off x="7633958" y="1853248"/>
            <a:ext cx="3784626" cy="519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lnSpc>
                <a:spcPct val="125000"/>
              </a:lnSpc>
            </a:pPr>
            <a:r>
              <a:rPr lang="en-US" altLang="zh-CN" sz="2400" b="1" dirty="0">
                <a:solidFill>
                  <a:schemeClr val="bg1"/>
                </a:solidFill>
                <a:latin typeface="Calibri" panose="020F0502020204030204" pitchFamily="34" charset="0"/>
                <a:cs typeface="Calibri" panose="020F0502020204030204" pitchFamily="34" charset="0"/>
              </a:rPr>
              <a:t>Management &amp; Governance</a:t>
            </a:r>
          </a:p>
        </p:txBody>
      </p:sp>
      <p:sp>
        <p:nvSpPr>
          <p:cNvPr id="60" name="文本框 59"/>
          <p:cNvSpPr txBox="1"/>
          <p:nvPr/>
        </p:nvSpPr>
        <p:spPr>
          <a:xfrm>
            <a:off x="899795" y="2626360"/>
            <a:ext cx="4167505" cy="2584450"/>
          </a:xfrm>
          <a:prstGeom prst="rect">
            <a:avLst/>
          </a:prstGeom>
          <a:noFill/>
        </p:spPr>
        <p:txBody>
          <a:bodyPr wrap="square" lIns="0" rtlCol="0">
            <a:spAutoFit/>
          </a:bodyPr>
          <a:lstStyle/>
          <a:p>
            <a:pPr marL="285750" indent="-285750" eaLnBrk="1" latinLnBrk="0" hangingPunct="1">
              <a:lnSpc>
                <a:spcPct val="150000"/>
              </a:lnSpc>
              <a:buFont typeface="Arial" panose="020B0604020202020204" pitchFamily="34" charset="0"/>
              <a:buChar char="•"/>
            </a:pPr>
            <a:r>
              <a:rPr sz="1800" dirty="0">
                <a:solidFill>
                  <a:schemeClr val="bg1"/>
                </a:solidFill>
                <a:latin typeface="Calibri" panose="020F0502020204030204" pitchFamily="34" charset="0"/>
                <a:cs typeface="Calibri" panose="020F0502020204030204" pitchFamily="34" charset="0"/>
              </a:rPr>
              <a:t>Business Integrity</a:t>
            </a:r>
          </a:p>
          <a:p>
            <a:pPr marL="285750" indent="-285750" eaLnBrk="1" latinLnBrk="0" hangingPunct="1">
              <a:lnSpc>
                <a:spcPct val="150000"/>
              </a:lnSpc>
              <a:buFont typeface="Arial" panose="020B0604020202020204" pitchFamily="34" charset="0"/>
              <a:buChar char="•"/>
            </a:pPr>
            <a:r>
              <a:rPr sz="1800" dirty="0">
                <a:solidFill>
                  <a:schemeClr val="bg1"/>
                </a:solidFill>
                <a:latin typeface="Calibri" panose="020F0502020204030204" pitchFamily="34" charset="0"/>
                <a:cs typeface="Calibri" panose="020F0502020204030204" pitchFamily="34" charset="0"/>
              </a:rPr>
              <a:t>Intellectual Property</a:t>
            </a:r>
          </a:p>
          <a:p>
            <a:pPr marL="285750" indent="-285750" eaLnBrk="1" latinLnBrk="0" hangingPunct="1">
              <a:lnSpc>
                <a:spcPct val="150000"/>
              </a:lnSpc>
              <a:buFont typeface="Arial" panose="020B0604020202020204" pitchFamily="34" charset="0"/>
              <a:buChar char="•"/>
            </a:pPr>
            <a:r>
              <a:rPr sz="1800" dirty="0">
                <a:solidFill>
                  <a:schemeClr val="bg1"/>
                </a:solidFill>
                <a:latin typeface="Calibri" panose="020F0502020204030204" pitchFamily="34" charset="0"/>
                <a:cs typeface="Calibri" panose="020F0502020204030204" pitchFamily="34" charset="0"/>
              </a:rPr>
              <a:t>Fair Business Practices and Competition</a:t>
            </a:r>
          </a:p>
          <a:p>
            <a:pPr marL="285750" indent="-285750" eaLnBrk="1" latinLnBrk="0" hangingPunct="1">
              <a:lnSpc>
                <a:spcPct val="150000"/>
              </a:lnSpc>
              <a:buFont typeface="Arial" panose="020B0604020202020204" pitchFamily="34" charset="0"/>
              <a:buChar char="•"/>
            </a:pPr>
            <a:r>
              <a:rPr sz="1800" dirty="0">
                <a:solidFill>
                  <a:schemeClr val="bg1"/>
                </a:solidFill>
                <a:latin typeface="Calibri" panose="020F0502020204030204" pitchFamily="34" charset="0"/>
                <a:cs typeface="Calibri" panose="020F0502020204030204" pitchFamily="34" charset="0"/>
              </a:rPr>
              <a:t>Protection of Personal Information</a:t>
            </a:r>
          </a:p>
          <a:p>
            <a:pPr marL="285750" indent="-285750" eaLnBrk="1" latinLnBrk="0" hangingPunct="1">
              <a:lnSpc>
                <a:spcPct val="150000"/>
              </a:lnSpc>
              <a:buFont typeface="Arial" panose="020B0604020202020204" pitchFamily="34" charset="0"/>
              <a:buChar char="•"/>
            </a:pPr>
            <a:r>
              <a:rPr sz="1800" dirty="0">
                <a:solidFill>
                  <a:schemeClr val="bg1"/>
                </a:solidFill>
                <a:latin typeface="Calibri" panose="020F0502020204030204" pitchFamily="34" charset="0"/>
                <a:cs typeface="Calibri" panose="020F0502020204030204" pitchFamily="34" charset="0"/>
              </a:rPr>
              <a:t>Disclosure of Information</a:t>
            </a:r>
          </a:p>
          <a:p>
            <a:pPr marL="285750" indent="-285750" eaLnBrk="1" latinLnBrk="0" hangingPunct="1">
              <a:lnSpc>
                <a:spcPct val="150000"/>
              </a:lnSpc>
              <a:buFont typeface="Arial" panose="020B0604020202020204" pitchFamily="34" charset="0"/>
              <a:buChar char="•"/>
            </a:pPr>
            <a:r>
              <a:rPr sz="1800" dirty="0">
                <a:solidFill>
                  <a:schemeClr val="bg1"/>
                </a:solidFill>
                <a:latin typeface="Calibri" panose="020F0502020204030204" pitchFamily="34" charset="0"/>
                <a:cs typeface="Calibri" panose="020F0502020204030204" pitchFamily="34" charset="0"/>
              </a:rPr>
              <a:t>Ethics performance monitor</a:t>
            </a:r>
          </a:p>
        </p:txBody>
      </p:sp>
      <p:sp>
        <p:nvSpPr>
          <p:cNvPr id="8" name="文本框 7"/>
          <p:cNvSpPr txBox="1"/>
          <p:nvPr/>
        </p:nvSpPr>
        <p:spPr>
          <a:xfrm>
            <a:off x="6906260" y="2626360"/>
            <a:ext cx="4866640" cy="2168525"/>
          </a:xfrm>
          <a:prstGeom prst="rect">
            <a:avLst/>
          </a:prstGeom>
          <a:noFill/>
        </p:spPr>
        <p:txBody>
          <a:bodyPr wrap="square" lIns="0" rtlCol="0">
            <a:spAutoFit/>
          </a:bodyPr>
          <a:lstStyle/>
          <a:p>
            <a:pPr marL="285750" indent="-285750" eaLnBrk="1" latinLnBrk="0" hangingPunct="1">
              <a:lnSpc>
                <a:spcPct val="150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Company Commitment</a:t>
            </a:r>
          </a:p>
          <a:p>
            <a:pPr marL="285750" indent="-285750" eaLnBrk="1" latinLnBrk="0" hangingPunct="1">
              <a:lnSpc>
                <a:spcPct val="150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Management Accountability and Responsibility</a:t>
            </a:r>
          </a:p>
          <a:p>
            <a:pPr marL="285750" indent="-285750" eaLnBrk="1" latinLnBrk="0" hangingPunct="1">
              <a:lnSpc>
                <a:spcPct val="150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Business Partners/Contractors Management</a:t>
            </a:r>
          </a:p>
          <a:p>
            <a:pPr marL="285750" indent="-285750" eaLnBrk="1" latinLnBrk="0" hangingPunct="1">
              <a:lnSpc>
                <a:spcPct val="150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Risk Assessment and Risk Management</a:t>
            </a:r>
          </a:p>
          <a:p>
            <a:pPr marL="285750" indent="-285750" eaLnBrk="1" latinLnBrk="0" hangingPunct="1">
              <a:lnSpc>
                <a:spcPct val="150000"/>
              </a:lnSpc>
              <a:buFont typeface="Arial" panose="020B0604020202020204" pitchFamily="34" charset="0"/>
              <a:buChar char="•"/>
            </a:pPr>
            <a:r>
              <a:rPr lang="zh-CN" altLang="en-US" sz="1800" dirty="0">
                <a:solidFill>
                  <a:schemeClr val="bg1"/>
                </a:solidFill>
                <a:latin typeface="Calibri" panose="020F0502020204030204" pitchFamily="34" charset="0"/>
                <a:cs typeface="Calibri" panose="020F0502020204030204" pitchFamily="34" charset="0"/>
              </a:rPr>
              <a:t>Training and Communication</a:t>
            </a:r>
          </a:p>
        </p:txBody>
      </p:sp>
    </p:spTree>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6" name="Text Placeholder 3"/>
          <p:cNvSpPr txBox="1">
            <a:spLocks noChangeArrowheads="1"/>
          </p:cNvSpPr>
          <p:nvPr/>
        </p:nvSpPr>
        <p:spPr bwMode="auto">
          <a:xfrm>
            <a:off x="1393825" y="2547938"/>
            <a:ext cx="1641475" cy="157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微软雅黑" panose="020B0503020204020204" pitchFamily="34" charset="-122"/>
                <a:ea typeface="微软雅黑" panose="020B0503020204020204" pitchFamily="34" charset="-122"/>
              </a:defRPr>
            </a:lvl1pPr>
            <a:lvl2pPr>
              <a:defRPr>
                <a:solidFill>
                  <a:schemeClr val="tx1"/>
                </a:solidFill>
                <a:latin typeface="微软雅黑" panose="020B0503020204020204" pitchFamily="34" charset="-122"/>
                <a:ea typeface="微软雅黑" panose="020B0503020204020204" pitchFamily="34" charset="-122"/>
              </a:defRPr>
            </a:lvl2pPr>
            <a:lvl3pPr>
              <a:defRPr>
                <a:solidFill>
                  <a:schemeClr val="tx1"/>
                </a:solidFill>
                <a:latin typeface="微软雅黑" panose="020B0503020204020204" pitchFamily="34" charset="-122"/>
                <a:ea typeface="微软雅黑" panose="020B0503020204020204" pitchFamily="34" charset="-122"/>
              </a:defRPr>
            </a:lvl3pPr>
            <a:lvl4pPr>
              <a:defRPr>
                <a:solidFill>
                  <a:schemeClr val="tx1"/>
                </a:solidFill>
                <a:latin typeface="微软雅黑" panose="020B0503020204020204" pitchFamily="34" charset="-122"/>
                <a:ea typeface="微软雅黑" panose="020B0503020204020204" pitchFamily="34" charset="-122"/>
              </a:defRPr>
            </a:lvl4pPr>
            <a:lvl5pPr>
              <a:defRPr>
                <a:solidFill>
                  <a:schemeClr val="tx1"/>
                </a:solidFill>
                <a:latin typeface="微软雅黑" panose="020B0503020204020204" pitchFamily="34" charset="-122"/>
                <a:ea typeface="微软雅黑" panose="020B0503020204020204" pitchFamily="34" charset="-122"/>
              </a:defRPr>
            </a:lvl5pPr>
            <a:lvl6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6pPr>
            <a:lvl7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7pPr>
            <a:lvl8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8pPr>
            <a:lvl9pPr fontAlgn="base">
              <a:spcBef>
                <a:spcPct val="0"/>
              </a:spcBef>
              <a:spcAft>
                <a:spcPct val="0"/>
              </a:spcAft>
              <a:defRPr>
                <a:solidFill>
                  <a:schemeClr val="tx1"/>
                </a:solidFill>
                <a:latin typeface="微软雅黑" panose="020B0503020204020204" pitchFamily="34" charset="-122"/>
                <a:ea typeface="微软雅黑" panose="020B0503020204020204" pitchFamily="34" charset="-122"/>
              </a:defRPr>
            </a:lvl9pPr>
          </a:lstStyle>
          <a:p>
            <a:pPr algn="ctr">
              <a:spcBef>
                <a:spcPct val="20000"/>
              </a:spcBef>
            </a:pPr>
            <a:r>
              <a:rPr lang="en-US" altLang="en-US" sz="11500" b="1" i="1" dirty="0">
                <a:solidFill>
                  <a:srgbClr val="197519"/>
                </a:solidFill>
              </a:rPr>
              <a:t>02</a:t>
            </a:r>
          </a:p>
        </p:txBody>
      </p:sp>
      <p:sp>
        <p:nvSpPr>
          <p:cNvPr id="17" name="文本框 16"/>
          <p:cNvSpPr txBox="1">
            <a:spLocks noChangeArrowheads="1"/>
          </p:cNvSpPr>
          <p:nvPr/>
        </p:nvSpPr>
        <p:spPr bwMode="auto">
          <a:xfrm>
            <a:off x="3115980" y="3502968"/>
            <a:ext cx="850125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zh-CN" sz="2400" b="1" dirty="0">
                <a:solidFill>
                  <a:srgbClr val="197519"/>
                </a:solidFill>
              </a:rPr>
              <a:t>Process of Sustainability Audit</a:t>
            </a:r>
          </a:p>
        </p:txBody>
      </p:sp>
      <p:sp>
        <p:nvSpPr>
          <p:cNvPr id="18" name="文本框 17"/>
          <p:cNvSpPr txBox="1">
            <a:spLocks noChangeArrowheads="1"/>
          </p:cNvSpPr>
          <p:nvPr/>
        </p:nvSpPr>
        <p:spPr bwMode="auto">
          <a:xfrm>
            <a:off x="3649663" y="2773363"/>
            <a:ext cx="201136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zh-CN" sz="3200" b="1" i="1" dirty="0">
                <a:solidFill>
                  <a:srgbClr val="197519"/>
                </a:solidFill>
              </a:rPr>
              <a:t>Part Two</a:t>
            </a:r>
            <a:endParaRPr lang="zh-CN" altLang="en-US" sz="3200" b="1" i="1" dirty="0">
              <a:solidFill>
                <a:srgbClr val="197519"/>
              </a:solidFill>
              <a:ea typeface="Meiryo UI" pitchFamily="34" charset="-128"/>
              <a:cs typeface="Meiryo UI" pitchFamily="34" charset="-128"/>
            </a:endParaRPr>
          </a:p>
        </p:txBody>
      </p:sp>
      <p:sp>
        <p:nvSpPr>
          <p:cNvPr id="19" name="等腰三角形 18"/>
          <p:cNvSpPr>
            <a:spLocks noChangeArrowheads="1"/>
          </p:cNvSpPr>
          <p:nvPr/>
        </p:nvSpPr>
        <p:spPr bwMode="auto">
          <a:xfrm rot="9233090">
            <a:off x="9509125" y="2454275"/>
            <a:ext cx="266700" cy="230188"/>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20" name="等腰三角形 19"/>
          <p:cNvSpPr>
            <a:spLocks noChangeArrowheads="1"/>
          </p:cNvSpPr>
          <p:nvPr/>
        </p:nvSpPr>
        <p:spPr bwMode="auto">
          <a:xfrm rot="-6030424">
            <a:off x="9156700" y="3128963"/>
            <a:ext cx="396875" cy="342900"/>
          </a:xfrm>
          <a:prstGeom prst="triangle">
            <a:avLst>
              <a:gd name="adj" fmla="val 50000"/>
            </a:avLst>
          </a:prstGeom>
          <a:solidFill>
            <a:srgbClr val="309030"/>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21" name="等腰三角形 20"/>
          <p:cNvSpPr>
            <a:spLocks noChangeArrowheads="1"/>
          </p:cNvSpPr>
          <p:nvPr/>
        </p:nvSpPr>
        <p:spPr bwMode="auto">
          <a:xfrm rot="-228606">
            <a:off x="9024938" y="1804988"/>
            <a:ext cx="266700" cy="230187"/>
          </a:xfrm>
          <a:prstGeom prst="triangle">
            <a:avLst>
              <a:gd name="adj" fmla="val 50000"/>
            </a:avLst>
          </a:prstGeom>
          <a:solidFill>
            <a:srgbClr val="2B7E2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grpSp>
        <p:nvGrpSpPr>
          <p:cNvPr id="5" name="组合 4"/>
          <p:cNvGrpSpPr/>
          <p:nvPr/>
        </p:nvGrpSpPr>
        <p:grpSpPr bwMode="auto">
          <a:xfrm>
            <a:off x="9934575" y="3132138"/>
            <a:ext cx="1435100" cy="1309687"/>
            <a:chOff x="9933940" y="3132138"/>
            <a:chExt cx="1435100" cy="1309686"/>
          </a:xfrm>
        </p:grpSpPr>
        <p:sp>
          <p:nvSpPr>
            <p:cNvPr id="12296" name="等腰三角形 22"/>
            <p:cNvSpPr>
              <a:spLocks noChangeArrowheads="1"/>
            </p:cNvSpPr>
            <p:nvPr/>
          </p:nvSpPr>
          <p:spPr bwMode="auto">
            <a:xfrm rot="-8687839">
              <a:off x="9933940" y="3427412"/>
              <a:ext cx="1176338" cy="1014412"/>
            </a:xfrm>
            <a:prstGeom prst="triangle">
              <a:avLst>
                <a:gd name="adj" fmla="val 50000"/>
              </a:avLst>
            </a:prstGeom>
            <a:noFill/>
            <a:ln w="12700">
              <a:solidFill>
                <a:srgbClr val="197519"/>
              </a:solidFill>
              <a:miter lim="800000"/>
            </a:ln>
            <a:extLst>
              <a:ext uri="{909E8E84-426E-40DD-AFC4-6F175D3DCCD1}">
                <a14:hiddenFill xmlns:a14="http://schemas.microsoft.com/office/drawing/2010/main">
                  <a:solidFill>
                    <a:srgbClr val="FFFFFF"/>
                  </a:solidFill>
                </a14:hiddenFill>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grpSp>
          <p:nvGrpSpPr>
            <p:cNvPr id="12297" name="组合 2"/>
            <p:cNvGrpSpPr/>
            <p:nvPr/>
          </p:nvGrpSpPr>
          <p:grpSpPr bwMode="auto">
            <a:xfrm>
              <a:off x="10065703" y="3132138"/>
              <a:ext cx="1303337" cy="1279524"/>
              <a:chOff x="10065703" y="3132138"/>
              <a:chExt cx="1303337" cy="1279524"/>
            </a:xfrm>
          </p:grpSpPr>
          <p:sp>
            <p:nvSpPr>
              <p:cNvPr id="12298" name="等腰三角形 21"/>
              <p:cNvSpPr>
                <a:spLocks noChangeArrowheads="1"/>
              </p:cNvSpPr>
              <p:nvPr/>
            </p:nvSpPr>
            <p:spPr bwMode="auto">
              <a:xfrm rot="-8687839">
                <a:off x="10065703" y="3487738"/>
                <a:ext cx="944562" cy="815975"/>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grpSp>
            <p:nvGrpSpPr>
              <p:cNvPr id="12299" name="组合 1"/>
              <p:cNvGrpSpPr/>
              <p:nvPr/>
            </p:nvGrpSpPr>
            <p:grpSpPr bwMode="auto">
              <a:xfrm>
                <a:off x="10165715" y="3132138"/>
                <a:ext cx="1203325" cy="1279524"/>
                <a:chOff x="10165715" y="3132138"/>
                <a:chExt cx="1203325" cy="1279524"/>
              </a:xfrm>
            </p:grpSpPr>
            <p:sp>
              <p:nvSpPr>
                <p:cNvPr id="12300" name="椭圆 23"/>
                <p:cNvSpPr>
                  <a:spLocks noChangeArrowheads="1"/>
                </p:cNvSpPr>
                <p:nvPr/>
              </p:nvSpPr>
              <p:spPr bwMode="auto">
                <a:xfrm rot="9110320">
                  <a:off x="11254740" y="3792538"/>
                  <a:ext cx="114300" cy="115887"/>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sp>
              <p:nvSpPr>
                <p:cNvPr id="12301" name="椭圆 24"/>
                <p:cNvSpPr>
                  <a:spLocks noChangeArrowheads="1"/>
                </p:cNvSpPr>
                <p:nvPr/>
              </p:nvSpPr>
              <p:spPr bwMode="auto">
                <a:xfrm rot="9110320">
                  <a:off x="10165715" y="4295774"/>
                  <a:ext cx="115888" cy="115888"/>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sp>
              <p:nvSpPr>
                <p:cNvPr id="12302" name="椭圆 25"/>
                <p:cNvSpPr>
                  <a:spLocks noChangeArrowheads="1"/>
                </p:cNvSpPr>
                <p:nvPr/>
              </p:nvSpPr>
              <p:spPr bwMode="auto">
                <a:xfrm rot="9110320">
                  <a:off x="10283190" y="3132138"/>
                  <a:ext cx="114300" cy="115887"/>
                </a:xfrm>
                <a:prstGeom prst="ellipse">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FFFF"/>
                    </a:solidFill>
                    <a:latin typeface="Calibri" panose="020F0502020204030204" pitchFamily="34" charset="0"/>
                    <a:ea typeface="幼圆" pitchFamily="49" charset="-122"/>
                  </a:endParaRPr>
                </a:p>
              </p:txBody>
            </p:sp>
          </p:grpSp>
        </p:grpSp>
      </p:grpSp>
      <p:sp>
        <p:nvSpPr>
          <p:cNvPr id="27" name="等腰三角形 26"/>
          <p:cNvSpPr>
            <a:spLocks noChangeArrowheads="1"/>
          </p:cNvSpPr>
          <p:nvPr/>
        </p:nvSpPr>
        <p:spPr bwMode="auto">
          <a:xfrm rot="-3389783">
            <a:off x="8616157" y="2162969"/>
            <a:ext cx="127000" cy="109537"/>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sp>
        <p:nvSpPr>
          <p:cNvPr id="28" name="等腰三角形 27"/>
          <p:cNvSpPr>
            <a:spLocks noChangeArrowheads="1"/>
          </p:cNvSpPr>
          <p:nvPr/>
        </p:nvSpPr>
        <p:spPr bwMode="auto">
          <a:xfrm rot="8748521">
            <a:off x="8974138" y="2314575"/>
            <a:ext cx="128587" cy="109538"/>
          </a:xfrm>
          <a:prstGeom prst="triangle">
            <a:avLst>
              <a:gd name="adj" fmla="val 50000"/>
            </a:avLst>
          </a:prstGeom>
          <a:solidFill>
            <a:srgbClr val="559551"/>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FFC20F"/>
              </a:solidFill>
              <a:latin typeface="Calibri" panose="020F0502020204030204" pitchFamily="34" charset="0"/>
              <a:ea typeface="幼圆" pitchFamily="49" charset="-122"/>
            </a:endParaRPr>
          </a:p>
        </p:txBody>
      </p:sp>
      <p:cxnSp>
        <p:nvCxnSpPr>
          <p:cNvPr id="2063" name="Straight Connector 13"/>
          <p:cNvCxnSpPr>
            <a:cxnSpLocks noChangeShapeType="1"/>
          </p:cNvCxnSpPr>
          <p:nvPr/>
        </p:nvCxnSpPr>
        <p:spPr bwMode="auto">
          <a:xfrm flipH="1">
            <a:off x="1417638" y="4110038"/>
            <a:ext cx="7208837" cy="0"/>
          </a:xfrm>
          <a:prstGeom prst="line">
            <a:avLst/>
          </a:prstGeom>
          <a:noFill/>
          <a:ln w="19050" cap="sq">
            <a:solidFill>
              <a:srgbClr val="197519"/>
            </a:solidFill>
            <a:miter lim="800000"/>
            <a:headEnd type="oval" w="med" len="med"/>
          </a:ln>
          <a:extLst>
            <a:ext uri="{909E8E84-426E-40DD-AFC4-6F175D3DCCD1}">
              <a14:hiddenFill xmlns:a14="http://schemas.microsoft.com/office/drawing/2010/main">
                <a:noFill/>
              </a14:hiddenFill>
            </a:ext>
          </a:extLst>
        </p:spPr>
      </p:cxnSp>
    </p:spTree>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8" name="等腰三角形 27"/>
          <p:cNvSpPr>
            <a:spLocks noChangeArrowheads="1"/>
          </p:cNvSpPr>
          <p:nvPr/>
        </p:nvSpPr>
        <p:spPr bwMode="auto">
          <a:xfrm rot="9233090">
            <a:off x="11153775" y="6661150"/>
            <a:ext cx="122238" cy="104775"/>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29" name="等腰三角形 28"/>
          <p:cNvSpPr>
            <a:spLocks noChangeArrowheads="1"/>
          </p:cNvSpPr>
          <p:nvPr/>
        </p:nvSpPr>
        <p:spPr bwMode="auto">
          <a:xfrm rot="-6030424">
            <a:off x="10913269" y="6634956"/>
            <a:ext cx="180975" cy="157163"/>
          </a:xfrm>
          <a:prstGeom prst="triangle">
            <a:avLst>
              <a:gd name="adj" fmla="val 50000"/>
            </a:avLst>
          </a:prstGeom>
          <a:solidFill>
            <a:srgbClr val="309030"/>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30" name="等腰三角形 29"/>
          <p:cNvSpPr>
            <a:spLocks noChangeArrowheads="1"/>
          </p:cNvSpPr>
          <p:nvPr/>
        </p:nvSpPr>
        <p:spPr bwMode="auto">
          <a:xfrm rot="-228606">
            <a:off x="11368088" y="6643688"/>
            <a:ext cx="122237" cy="104775"/>
          </a:xfrm>
          <a:prstGeom prst="triangle">
            <a:avLst>
              <a:gd name="adj" fmla="val 50000"/>
            </a:avLst>
          </a:prstGeom>
          <a:solidFill>
            <a:srgbClr val="2B7E2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31" name="等腰三角形 30"/>
          <p:cNvSpPr>
            <a:spLocks noChangeArrowheads="1"/>
          </p:cNvSpPr>
          <p:nvPr/>
        </p:nvSpPr>
        <p:spPr bwMode="auto">
          <a:xfrm rot="-3389783">
            <a:off x="11107738" y="6572250"/>
            <a:ext cx="58737" cy="49213"/>
          </a:xfrm>
          <a:prstGeom prst="triangle">
            <a:avLst>
              <a:gd name="adj" fmla="val 50000"/>
            </a:avLst>
          </a:prstGeom>
          <a:solidFill>
            <a:srgbClr val="5EA45A"/>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32" name="等腰三角形 31"/>
          <p:cNvSpPr>
            <a:spLocks noChangeArrowheads="1"/>
          </p:cNvSpPr>
          <p:nvPr/>
        </p:nvSpPr>
        <p:spPr bwMode="auto">
          <a:xfrm rot="8748521">
            <a:off x="11296650" y="6657975"/>
            <a:ext cx="58738" cy="49213"/>
          </a:xfrm>
          <a:prstGeom prst="triangle">
            <a:avLst>
              <a:gd name="adj" fmla="val 50000"/>
            </a:avLst>
          </a:prstGeom>
          <a:solidFill>
            <a:srgbClr val="559551"/>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sz="1800">
              <a:solidFill>
                <a:srgbClr val="FFC20F"/>
              </a:solidFill>
              <a:latin typeface="Calibri" panose="020F0502020204030204" pitchFamily="34" charset="0"/>
              <a:ea typeface="幼圆" pitchFamily="49" charset="-122"/>
            </a:endParaRPr>
          </a:p>
        </p:txBody>
      </p:sp>
      <p:sp>
        <p:nvSpPr>
          <p:cNvPr id="40" name="等腰三角形 39"/>
          <p:cNvSpPr>
            <a:spLocks noChangeArrowheads="1"/>
          </p:cNvSpPr>
          <p:nvPr/>
        </p:nvSpPr>
        <p:spPr bwMode="auto">
          <a:xfrm>
            <a:off x="196850" y="360363"/>
            <a:ext cx="563563" cy="485775"/>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sp>
        <p:nvSpPr>
          <p:cNvPr id="41" name="等腰三角形 40"/>
          <p:cNvSpPr>
            <a:spLocks noChangeArrowheads="1"/>
          </p:cNvSpPr>
          <p:nvPr/>
        </p:nvSpPr>
        <p:spPr bwMode="auto">
          <a:xfrm>
            <a:off x="760413" y="696913"/>
            <a:ext cx="265112" cy="228600"/>
          </a:xfrm>
          <a:prstGeom prst="triangle">
            <a:avLst>
              <a:gd name="adj" fmla="val 50000"/>
            </a:avLst>
          </a:prstGeom>
          <a:solidFill>
            <a:srgbClr val="197519">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sp>
        <p:nvSpPr>
          <p:cNvPr id="42" name="等腰三角形 41"/>
          <p:cNvSpPr>
            <a:spLocks noChangeArrowheads="1"/>
          </p:cNvSpPr>
          <p:nvPr/>
        </p:nvSpPr>
        <p:spPr bwMode="auto">
          <a:xfrm flipH="1">
            <a:off x="630238" y="469900"/>
            <a:ext cx="85725" cy="74613"/>
          </a:xfrm>
          <a:prstGeom prst="triangle">
            <a:avLst>
              <a:gd name="adj" fmla="val 50000"/>
            </a:avLst>
          </a:prstGeom>
          <a:solidFill>
            <a:srgbClr val="197519">
              <a:alpha val="46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sp>
        <p:nvSpPr>
          <p:cNvPr id="43" name="等腰三角形 42"/>
          <p:cNvSpPr>
            <a:spLocks noChangeArrowheads="1"/>
          </p:cNvSpPr>
          <p:nvPr/>
        </p:nvSpPr>
        <p:spPr bwMode="auto">
          <a:xfrm>
            <a:off x="833438" y="490538"/>
            <a:ext cx="177800" cy="152400"/>
          </a:xfrm>
          <a:prstGeom prst="triangle">
            <a:avLst>
              <a:gd name="adj" fmla="val 50000"/>
            </a:avLst>
          </a:prstGeom>
          <a:solidFill>
            <a:srgbClr val="197519">
              <a:alpha val="71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800"/>
          </a:p>
        </p:txBody>
      </p:sp>
      <p:sp>
        <p:nvSpPr>
          <p:cNvPr id="2" name="矩形 1"/>
          <p:cNvSpPr>
            <a:spLocks noChangeArrowheads="1"/>
          </p:cNvSpPr>
          <p:nvPr/>
        </p:nvSpPr>
        <p:spPr bwMode="auto">
          <a:xfrm>
            <a:off x="1129030" y="404495"/>
            <a:ext cx="4502785" cy="58356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a:spAutoFit/>
          </a:bodyPr>
          <a:lstStyle/>
          <a:p>
            <a:pPr lvl="0">
              <a:buClrTx/>
              <a:buSzTx/>
              <a:buFontTx/>
            </a:pPr>
            <a:r>
              <a:rPr lang="en-US" altLang="zh-CN" sz="3200" b="1" dirty="0">
                <a:solidFill>
                  <a:srgbClr val="197519"/>
                </a:solidFill>
                <a:latin typeface="Calibri" panose="020F0502020204030204" pitchFamily="34" charset="0"/>
                <a:cs typeface="Calibri" panose="020F0502020204030204" pitchFamily="34" charset="0"/>
                <a:sym typeface="+mn-ea"/>
              </a:rPr>
              <a:t>Sustainability Audit Steps</a:t>
            </a:r>
          </a:p>
        </p:txBody>
      </p:sp>
      <p:graphicFrame>
        <p:nvGraphicFramePr>
          <p:cNvPr id="10" name="Diagram 9"/>
          <p:cNvGraphicFramePr/>
          <p:nvPr/>
        </p:nvGraphicFramePr>
        <p:xfrm>
          <a:off x="457200" y="1376218"/>
          <a:ext cx="11315700" cy="478486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 name="等腰三角形 29"/>
          <p:cNvSpPr>
            <a:spLocks noChangeArrowheads="1"/>
          </p:cNvSpPr>
          <p:nvPr/>
        </p:nvSpPr>
        <p:spPr bwMode="auto">
          <a:xfrm rot="9233090">
            <a:off x="11144250" y="6661150"/>
            <a:ext cx="122238" cy="104775"/>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31" name="等腰三角形 30"/>
          <p:cNvSpPr>
            <a:spLocks noChangeArrowheads="1"/>
          </p:cNvSpPr>
          <p:nvPr/>
        </p:nvSpPr>
        <p:spPr bwMode="auto">
          <a:xfrm rot="-6030424">
            <a:off x="10903744" y="6634956"/>
            <a:ext cx="180975" cy="157163"/>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32" name="等腰三角形 31"/>
          <p:cNvSpPr>
            <a:spLocks noChangeArrowheads="1"/>
          </p:cNvSpPr>
          <p:nvPr/>
        </p:nvSpPr>
        <p:spPr bwMode="auto">
          <a:xfrm rot="-228606">
            <a:off x="11358563" y="6643688"/>
            <a:ext cx="120650" cy="104775"/>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33" name="等腰三角形 32"/>
          <p:cNvSpPr>
            <a:spLocks noChangeArrowheads="1"/>
          </p:cNvSpPr>
          <p:nvPr/>
        </p:nvSpPr>
        <p:spPr bwMode="auto">
          <a:xfrm rot="-3389783">
            <a:off x="11098213" y="6572250"/>
            <a:ext cx="58737" cy="49213"/>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38" name="等腰三角形 37"/>
          <p:cNvSpPr>
            <a:spLocks noChangeArrowheads="1"/>
          </p:cNvSpPr>
          <p:nvPr/>
        </p:nvSpPr>
        <p:spPr bwMode="auto">
          <a:xfrm rot="8748521">
            <a:off x="11287125" y="6657975"/>
            <a:ext cx="58738" cy="49213"/>
          </a:xfrm>
          <a:prstGeom prst="triangle">
            <a:avLst>
              <a:gd name="adj" fmla="val 50000"/>
            </a:avLst>
          </a:prstGeom>
          <a:solidFill>
            <a:srgbClr val="197519"/>
          </a:solidFill>
          <a:ln>
            <a:noFill/>
          </a:ln>
          <a:extLst>
            <a:ext uri="{91240B29-F687-4F45-9708-019B960494DF}">
              <a14:hiddenLine xmlns:a14="http://schemas.microsoft.com/office/drawing/2010/main" w="12700">
                <a:solidFill>
                  <a:srgbClr val="000000"/>
                </a:solidFill>
                <a:miter lim="800000"/>
                <a:headEnd/>
                <a:tailEnd/>
              </a14:hiddenLine>
            </a:ext>
          </a:extLst>
        </p:spPr>
        <p:txBody>
          <a:bodyPr anchor="ctr"/>
          <a:lstStyle/>
          <a:p>
            <a:pPr algn="ctr"/>
            <a:endParaRPr lang="zh-CN" altLang="en-US">
              <a:solidFill>
                <a:srgbClr val="197519"/>
              </a:solidFill>
              <a:latin typeface="Calibri" panose="020F0502020204030204" pitchFamily="34" charset="0"/>
              <a:ea typeface="幼圆" pitchFamily="49" charset="-122"/>
            </a:endParaRPr>
          </a:p>
        </p:txBody>
      </p:sp>
      <p:sp>
        <p:nvSpPr>
          <p:cNvPr id="41" name="任意多边形 40"/>
          <p:cNvSpPr/>
          <p:nvPr/>
        </p:nvSpPr>
        <p:spPr>
          <a:xfrm>
            <a:off x="1543050" y="1793875"/>
            <a:ext cx="2552700" cy="4033838"/>
          </a:xfrm>
          <a:custGeom>
            <a:avLst/>
            <a:gdLst>
              <a:gd name="connsiteX0" fmla="*/ 0 w 2081770"/>
              <a:gd name="connsiteY0" fmla="*/ 0 h 3444647"/>
              <a:gd name="connsiteX1" fmla="*/ 2081770 w 2081770"/>
              <a:gd name="connsiteY1" fmla="*/ 0 h 3444647"/>
              <a:gd name="connsiteX2" fmla="*/ 2081770 w 2081770"/>
              <a:gd name="connsiteY2" fmla="*/ 3020507 h 3444647"/>
              <a:gd name="connsiteX3" fmla="*/ 2081769 w 2081770"/>
              <a:gd name="connsiteY3" fmla="*/ 3020507 h 3444647"/>
              <a:gd name="connsiteX4" fmla="*/ 1040904 w 2081770"/>
              <a:gd name="connsiteY4" fmla="*/ 3444647 h 3444647"/>
              <a:gd name="connsiteX5" fmla="*/ 38 w 2081770"/>
              <a:gd name="connsiteY5" fmla="*/ 3020507 h 3444647"/>
              <a:gd name="connsiteX6" fmla="*/ 0 w 2081770"/>
              <a:gd name="connsiteY6" fmla="*/ 3020507 h 344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1770" h="3444647">
                <a:moveTo>
                  <a:pt x="0" y="0"/>
                </a:moveTo>
                <a:lnTo>
                  <a:pt x="2081770" y="0"/>
                </a:lnTo>
                <a:lnTo>
                  <a:pt x="2081770" y="3020507"/>
                </a:lnTo>
                <a:lnTo>
                  <a:pt x="2081769" y="3020507"/>
                </a:lnTo>
                <a:lnTo>
                  <a:pt x="1040904" y="3444647"/>
                </a:lnTo>
                <a:lnTo>
                  <a:pt x="38" y="3020507"/>
                </a:lnTo>
                <a:lnTo>
                  <a:pt x="0" y="3020507"/>
                </a:lnTo>
                <a:close/>
              </a:path>
            </a:pathLst>
          </a:cu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36" name="任意多边形 35"/>
          <p:cNvSpPr/>
          <p:nvPr/>
        </p:nvSpPr>
        <p:spPr>
          <a:xfrm>
            <a:off x="4816475" y="1793875"/>
            <a:ext cx="2555875" cy="4035425"/>
          </a:xfrm>
          <a:custGeom>
            <a:avLst/>
            <a:gdLst>
              <a:gd name="connsiteX0" fmla="*/ 3574 w 2556274"/>
              <a:gd name="connsiteY0" fmla="*/ 0 h 4035448"/>
              <a:gd name="connsiteX1" fmla="*/ 2556274 w 2556274"/>
              <a:gd name="connsiteY1" fmla="*/ 0 h 4035448"/>
              <a:gd name="connsiteX2" fmla="*/ 2556274 w 2556274"/>
              <a:gd name="connsiteY2" fmla="*/ 3537962 h 4035448"/>
              <a:gd name="connsiteX3" fmla="*/ 2550778 w 2556274"/>
              <a:gd name="connsiteY3" fmla="*/ 3537962 h 4035448"/>
              <a:gd name="connsiteX4" fmla="*/ 2550194 w 2556274"/>
              <a:gd name="connsiteY4" fmla="*/ 3538647 h 4035448"/>
              <a:gd name="connsiteX5" fmla="*/ 2556250 w 2556274"/>
              <a:gd name="connsiteY5" fmla="*/ 3538647 h 4035448"/>
              <a:gd name="connsiteX6" fmla="*/ 1279924 w 2556274"/>
              <a:gd name="connsiteY6" fmla="*/ 4035448 h 4035448"/>
              <a:gd name="connsiteX7" fmla="*/ 31869 w 2556274"/>
              <a:gd name="connsiteY7" fmla="*/ 3549651 h 4035448"/>
              <a:gd name="connsiteX8" fmla="*/ 28247 w 2556274"/>
              <a:gd name="connsiteY8" fmla="*/ 3549073 h 4035448"/>
              <a:gd name="connsiteX9" fmla="*/ 7579 w 2556274"/>
              <a:gd name="connsiteY9" fmla="*/ 3541806 h 4035448"/>
              <a:gd name="connsiteX10" fmla="*/ 5528 w 2556274"/>
              <a:gd name="connsiteY10" fmla="*/ 3539398 h 4035448"/>
              <a:gd name="connsiteX11" fmla="*/ 3598 w 2556274"/>
              <a:gd name="connsiteY11" fmla="*/ 3538647 h 4035448"/>
              <a:gd name="connsiteX12" fmla="*/ 4888 w 2556274"/>
              <a:gd name="connsiteY12" fmla="*/ 3538647 h 4035448"/>
              <a:gd name="connsiteX13" fmla="*/ 4305 w 2556274"/>
              <a:gd name="connsiteY13" fmla="*/ 3537962 h 4035448"/>
              <a:gd name="connsiteX14" fmla="*/ 3574 w 2556274"/>
              <a:gd name="connsiteY14" fmla="*/ 3537962 h 4035448"/>
              <a:gd name="connsiteX15" fmla="*/ 3574 w 2556274"/>
              <a:gd name="connsiteY15" fmla="*/ 3537104 h 4035448"/>
              <a:gd name="connsiteX16" fmla="*/ 0 w 2556274"/>
              <a:gd name="connsiteY16" fmla="*/ 3532908 h 4035448"/>
              <a:gd name="connsiteX17" fmla="*/ 3574 w 2556274"/>
              <a:gd name="connsiteY17" fmla="*/ 3528712 h 4035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56274" h="4035448">
                <a:moveTo>
                  <a:pt x="3574" y="0"/>
                </a:moveTo>
                <a:lnTo>
                  <a:pt x="2556274" y="0"/>
                </a:lnTo>
                <a:lnTo>
                  <a:pt x="2556274" y="3537962"/>
                </a:lnTo>
                <a:lnTo>
                  <a:pt x="2550778" y="3537962"/>
                </a:lnTo>
                <a:lnTo>
                  <a:pt x="2550194" y="3538647"/>
                </a:lnTo>
                <a:lnTo>
                  <a:pt x="2556250" y="3538647"/>
                </a:lnTo>
                <a:lnTo>
                  <a:pt x="1279924" y="4035448"/>
                </a:lnTo>
                <a:lnTo>
                  <a:pt x="31869" y="3549651"/>
                </a:lnTo>
                <a:lnTo>
                  <a:pt x="28247" y="3549073"/>
                </a:lnTo>
                <a:cubicBezTo>
                  <a:pt x="19521" y="3547004"/>
                  <a:pt x="12459" y="3544541"/>
                  <a:pt x="7579" y="3541806"/>
                </a:cubicBezTo>
                <a:lnTo>
                  <a:pt x="5528" y="3539398"/>
                </a:lnTo>
                <a:lnTo>
                  <a:pt x="3598" y="3538647"/>
                </a:lnTo>
                <a:lnTo>
                  <a:pt x="4888" y="3538647"/>
                </a:lnTo>
                <a:lnTo>
                  <a:pt x="4305" y="3537962"/>
                </a:lnTo>
                <a:lnTo>
                  <a:pt x="3574" y="3537962"/>
                </a:lnTo>
                <a:lnTo>
                  <a:pt x="3574" y="3537104"/>
                </a:lnTo>
                <a:lnTo>
                  <a:pt x="0" y="3532908"/>
                </a:lnTo>
                <a:lnTo>
                  <a:pt x="3574" y="3528712"/>
                </a:lnTo>
                <a:close/>
              </a:path>
            </a:pathLst>
          </a:cu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43" name="任意多边形 42"/>
          <p:cNvSpPr/>
          <p:nvPr/>
        </p:nvSpPr>
        <p:spPr>
          <a:xfrm>
            <a:off x="8096250" y="1793875"/>
            <a:ext cx="2552700" cy="4033838"/>
          </a:xfrm>
          <a:custGeom>
            <a:avLst/>
            <a:gdLst>
              <a:gd name="connsiteX0" fmla="*/ 0 w 2081770"/>
              <a:gd name="connsiteY0" fmla="*/ 0 h 3444647"/>
              <a:gd name="connsiteX1" fmla="*/ 2081770 w 2081770"/>
              <a:gd name="connsiteY1" fmla="*/ 0 h 3444647"/>
              <a:gd name="connsiteX2" fmla="*/ 2081770 w 2081770"/>
              <a:gd name="connsiteY2" fmla="*/ 3020507 h 3444647"/>
              <a:gd name="connsiteX3" fmla="*/ 2081731 w 2081770"/>
              <a:gd name="connsiteY3" fmla="*/ 3020507 h 3444647"/>
              <a:gd name="connsiteX4" fmla="*/ 1040866 w 2081770"/>
              <a:gd name="connsiteY4" fmla="*/ 3444647 h 3444647"/>
              <a:gd name="connsiteX5" fmla="*/ 0 w 2081770"/>
              <a:gd name="connsiteY5" fmla="*/ 3020507 h 344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1770" h="3444647">
                <a:moveTo>
                  <a:pt x="0" y="0"/>
                </a:moveTo>
                <a:lnTo>
                  <a:pt x="2081770" y="0"/>
                </a:lnTo>
                <a:lnTo>
                  <a:pt x="2081770" y="3020507"/>
                </a:lnTo>
                <a:lnTo>
                  <a:pt x="2081731" y="3020507"/>
                </a:lnTo>
                <a:lnTo>
                  <a:pt x="1040866" y="3444647"/>
                </a:lnTo>
                <a:lnTo>
                  <a:pt x="0" y="3020507"/>
                </a:lnTo>
                <a:close/>
              </a:path>
            </a:pathLst>
          </a:custGeom>
          <a:solidFill>
            <a:srgbClr val="19751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p>
        </p:txBody>
      </p:sp>
      <p:sp>
        <p:nvSpPr>
          <p:cNvPr id="44" name="Freeform 13"/>
          <p:cNvSpPr>
            <a:spLocks noEditPoints="1" noChangeArrowheads="1"/>
          </p:cNvSpPr>
          <p:nvPr/>
        </p:nvSpPr>
        <p:spPr bwMode="auto">
          <a:xfrm>
            <a:off x="5854700" y="2166938"/>
            <a:ext cx="482600" cy="388937"/>
          </a:xfrm>
          <a:custGeom>
            <a:avLst/>
            <a:gdLst>
              <a:gd name="T0" fmla="*/ 55 w 77"/>
              <a:gd name="T1" fmla="*/ 14 h 59"/>
              <a:gd name="T2" fmla="*/ 4 w 77"/>
              <a:gd name="T3" fmla="*/ 18 h 59"/>
              <a:gd name="T4" fmla="*/ 65 w 77"/>
              <a:gd name="T5" fmla="*/ 55 h 59"/>
              <a:gd name="T6" fmla="*/ 67 w 77"/>
              <a:gd name="T7" fmla="*/ 34 h 59"/>
              <a:gd name="T8" fmla="*/ 68 w 77"/>
              <a:gd name="T9" fmla="*/ 32 h 59"/>
              <a:gd name="T10" fmla="*/ 68 w 77"/>
              <a:gd name="T11" fmla="*/ 31 h 59"/>
              <a:gd name="T12" fmla="*/ 68 w 77"/>
              <a:gd name="T13" fmla="*/ 59 h 59"/>
              <a:gd name="T14" fmla="*/ 2 w 77"/>
              <a:gd name="T15" fmla="*/ 59 h 59"/>
              <a:gd name="T16" fmla="*/ 0 w 77"/>
              <a:gd name="T17" fmla="*/ 57 h 59"/>
              <a:gd name="T18" fmla="*/ 0 w 77"/>
              <a:gd name="T19" fmla="*/ 14 h 59"/>
              <a:gd name="T20" fmla="*/ 10 w 77"/>
              <a:gd name="T21" fmla="*/ 38 h 59"/>
              <a:gd name="T22" fmla="*/ 29 w 77"/>
              <a:gd name="T23" fmla="*/ 41 h 59"/>
              <a:gd name="T24" fmla="*/ 10 w 77"/>
              <a:gd name="T25" fmla="*/ 38 h 59"/>
              <a:gd name="T26" fmla="*/ 10 w 77"/>
              <a:gd name="T27" fmla="*/ 33 h 59"/>
              <a:gd name="T28" fmla="*/ 43 w 77"/>
              <a:gd name="T29" fmla="*/ 30 h 59"/>
              <a:gd name="T30" fmla="*/ 10 w 77"/>
              <a:gd name="T31" fmla="*/ 22 h 59"/>
              <a:gd name="T32" fmla="*/ 43 w 77"/>
              <a:gd name="T33" fmla="*/ 25 h 59"/>
              <a:gd name="T34" fmla="*/ 10 w 77"/>
              <a:gd name="T35" fmla="*/ 22 h 59"/>
              <a:gd name="T36" fmla="*/ 71 w 77"/>
              <a:gd name="T37" fmla="*/ 9 h 59"/>
              <a:gd name="T38" fmla="*/ 67 w 77"/>
              <a:gd name="T39" fmla="*/ 25 h 59"/>
              <a:gd name="T40" fmla="*/ 70 w 77"/>
              <a:gd name="T41" fmla="*/ 24 h 59"/>
              <a:gd name="T42" fmla="*/ 76 w 77"/>
              <a:gd name="T43" fmla="*/ 10 h 59"/>
              <a:gd name="T44" fmla="*/ 75 w 77"/>
              <a:gd name="T45" fmla="*/ 8 h 59"/>
              <a:gd name="T46" fmla="*/ 61 w 77"/>
              <a:gd name="T47" fmla="*/ 9 h 59"/>
              <a:gd name="T48" fmla="*/ 65 w 77"/>
              <a:gd name="T49" fmla="*/ 29 h 59"/>
              <a:gd name="T50" fmla="*/ 52 w 77"/>
              <a:gd name="T51" fmla="*/ 40 h 59"/>
              <a:gd name="T52" fmla="*/ 50 w 77"/>
              <a:gd name="T53" fmla="*/ 49 h 59"/>
              <a:gd name="T54" fmla="*/ 53 w 77"/>
              <a:gd name="T55" fmla="*/ 45 h 59"/>
              <a:gd name="T56" fmla="*/ 54 w 77"/>
              <a:gd name="T57" fmla="*/ 43 h 59"/>
              <a:gd name="T58" fmla="*/ 54 w 77"/>
              <a:gd name="T59" fmla="*/ 46 h 59"/>
              <a:gd name="T60" fmla="*/ 53 w 77"/>
              <a:gd name="T61" fmla="*/ 50 h 59"/>
              <a:gd name="T62" fmla="*/ 59 w 77"/>
              <a:gd name="T63" fmla="*/ 42 h 59"/>
              <a:gd name="T64" fmla="*/ 64 w 77"/>
              <a:gd name="T65" fmla="*/ 30 h 59"/>
              <a:gd name="T66" fmla="*/ 51 w 77"/>
              <a:gd name="T67" fmla="*/ 38 h 59"/>
              <a:gd name="T68" fmla="*/ 64 w 77"/>
              <a:gd name="T69" fmla="*/ 30 h 59"/>
              <a:gd name="T70" fmla="*/ 24 w 77"/>
              <a:gd name="T71" fmla="*/ 52 h 59"/>
              <a:gd name="T72" fmla="*/ 29 w 77"/>
              <a:gd name="T73" fmla="*/ 48 h 59"/>
              <a:gd name="T74" fmla="*/ 30 w 77"/>
              <a:gd name="T75" fmla="*/ 52 h 59"/>
              <a:gd name="T76" fmla="*/ 37 w 77"/>
              <a:gd name="T77" fmla="*/ 50 h 59"/>
              <a:gd name="T78" fmla="*/ 40 w 77"/>
              <a:gd name="T79" fmla="*/ 51 h 59"/>
              <a:gd name="T80" fmla="*/ 40 w 77"/>
              <a:gd name="T81" fmla="*/ 51 h 59"/>
              <a:gd name="T82" fmla="*/ 40 w 77"/>
              <a:gd name="T83" fmla="*/ 54 h 59"/>
              <a:gd name="T84" fmla="*/ 46 w 77"/>
              <a:gd name="T85" fmla="*/ 55 h 59"/>
              <a:gd name="T86" fmla="*/ 43 w 77"/>
              <a:gd name="T87" fmla="*/ 52 h 59"/>
              <a:gd name="T88" fmla="*/ 43 w 77"/>
              <a:gd name="T89" fmla="*/ 52 h 59"/>
              <a:gd name="T90" fmla="*/ 42 w 77"/>
              <a:gd name="T91" fmla="*/ 48 h 59"/>
              <a:gd name="T92" fmla="*/ 39 w 77"/>
              <a:gd name="T93" fmla="*/ 49 h 59"/>
              <a:gd name="T94" fmla="*/ 31 w 77"/>
              <a:gd name="T95" fmla="*/ 49 h 59"/>
              <a:gd name="T96" fmla="*/ 23 w 77"/>
              <a:gd name="T97" fmla="*/ 5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7" h="59">
                <a:moveTo>
                  <a:pt x="2" y="14"/>
                </a:moveTo>
                <a:cubicBezTo>
                  <a:pt x="55" y="14"/>
                  <a:pt x="55" y="14"/>
                  <a:pt x="55" y="14"/>
                </a:cubicBezTo>
                <a:cubicBezTo>
                  <a:pt x="55" y="16"/>
                  <a:pt x="54" y="17"/>
                  <a:pt x="54" y="18"/>
                </a:cubicBezTo>
                <a:cubicBezTo>
                  <a:pt x="4" y="18"/>
                  <a:pt x="4" y="18"/>
                  <a:pt x="4" y="18"/>
                </a:cubicBezTo>
                <a:cubicBezTo>
                  <a:pt x="4" y="55"/>
                  <a:pt x="4" y="55"/>
                  <a:pt x="4" y="55"/>
                </a:cubicBezTo>
                <a:cubicBezTo>
                  <a:pt x="65" y="55"/>
                  <a:pt x="65" y="55"/>
                  <a:pt x="65" y="55"/>
                </a:cubicBezTo>
                <a:cubicBezTo>
                  <a:pt x="65" y="40"/>
                  <a:pt x="65" y="40"/>
                  <a:pt x="65" y="40"/>
                </a:cubicBezTo>
                <a:cubicBezTo>
                  <a:pt x="65" y="38"/>
                  <a:pt x="66" y="36"/>
                  <a:pt x="67" y="34"/>
                </a:cubicBezTo>
                <a:cubicBezTo>
                  <a:pt x="67" y="34"/>
                  <a:pt x="67" y="34"/>
                  <a:pt x="67" y="34"/>
                </a:cubicBezTo>
                <a:cubicBezTo>
                  <a:pt x="68" y="32"/>
                  <a:pt x="68" y="32"/>
                  <a:pt x="68" y="32"/>
                </a:cubicBezTo>
                <a:cubicBezTo>
                  <a:pt x="68" y="31"/>
                  <a:pt x="68" y="31"/>
                  <a:pt x="68" y="31"/>
                </a:cubicBezTo>
                <a:cubicBezTo>
                  <a:pt x="68" y="31"/>
                  <a:pt x="68" y="31"/>
                  <a:pt x="68" y="31"/>
                </a:cubicBezTo>
                <a:cubicBezTo>
                  <a:pt x="68" y="57"/>
                  <a:pt x="68" y="57"/>
                  <a:pt x="68" y="57"/>
                </a:cubicBezTo>
                <a:cubicBezTo>
                  <a:pt x="68" y="59"/>
                  <a:pt x="68" y="59"/>
                  <a:pt x="68" y="59"/>
                </a:cubicBezTo>
                <a:cubicBezTo>
                  <a:pt x="66" y="59"/>
                  <a:pt x="66" y="59"/>
                  <a:pt x="66" y="59"/>
                </a:cubicBezTo>
                <a:cubicBezTo>
                  <a:pt x="2" y="59"/>
                  <a:pt x="2" y="59"/>
                  <a:pt x="2" y="59"/>
                </a:cubicBezTo>
                <a:cubicBezTo>
                  <a:pt x="0" y="59"/>
                  <a:pt x="0" y="59"/>
                  <a:pt x="0" y="59"/>
                </a:cubicBezTo>
                <a:cubicBezTo>
                  <a:pt x="0" y="57"/>
                  <a:pt x="0" y="57"/>
                  <a:pt x="0" y="57"/>
                </a:cubicBezTo>
                <a:cubicBezTo>
                  <a:pt x="0" y="16"/>
                  <a:pt x="0" y="16"/>
                  <a:pt x="0" y="16"/>
                </a:cubicBezTo>
                <a:cubicBezTo>
                  <a:pt x="0" y="14"/>
                  <a:pt x="0" y="14"/>
                  <a:pt x="0" y="14"/>
                </a:cubicBezTo>
                <a:cubicBezTo>
                  <a:pt x="2" y="14"/>
                  <a:pt x="2" y="14"/>
                  <a:pt x="2" y="14"/>
                </a:cubicBezTo>
                <a:close/>
                <a:moveTo>
                  <a:pt x="10" y="38"/>
                </a:moveTo>
                <a:cubicBezTo>
                  <a:pt x="10" y="41"/>
                  <a:pt x="10" y="41"/>
                  <a:pt x="10" y="41"/>
                </a:cubicBezTo>
                <a:cubicBezTo>
                  <a:pt x="29" y="41"/>
                  <a:pt x="29" y="41"/>
                  <a:pt x="29" y="41"/>
                </a:cubicBezTo>
                <a:cubicBezTo>
                  <a:pt x="29" y="38"/>
                  <a:pt x="29" y="38"/>
                  <a:pt x="29" y="38"/>
                </a:cubicBezTo>
                <a:cubicBezTo>
                  <a:pt x="10" y="38"/>
                  <a:pt x="10" y="38"/>
                  <a:pt x="10" y="38"/>
                </a:cubicBezTo>
                <a:close/>
                <a:moveTo>
                  <a:pt x="10" y="30"/>
                </a:moveTo>
                <a:cubicBezTo>
                  <a:pt x="10" y="33"/>
                  <a:pt x="10" y="33"/>
                  <a:pt x="10" y="33"/>
                </a:cubicBezTo>
                <a:cubicBezTo>
                  <a:pt x="43" y="33"/>
                  <a:pt x="43" y="33"/>
                  <a:pt x="43" y="33"/>
                </a:cubicBezTo>
                <a:cubicBezTo>
                  <a:pt x="43" y="30"/>
                  <a:pt x="43" y="30"/>
                  <a:pt x="43" y="30"/>
                </a:cubicBezTo>
                <a:cubicBezTo>
                  <a:pt x="10" y="30"/>
                  <a:pt x="10" y="30"/>
                  <a:pt x="10" y="30"/>
                </a:cubicBezTo>
                <a:close/>
                <a:moveTo>
                  <a:pt x="10" y="22"/>
                </a:moveTo>
                <a:cubicBezTo>
                  <a:pt x="10" y="25"/>
                  <a:pt x="10" y="25"/>
                  <a:pt x="10" y="25"/>
                </a:cubicBezTo>
                <a:cubicBezTo>
                  <a:pt x="43" y="25"/>
                  <a:pt x="43" y="25"/>
                  <a:pt x="43" y="25"/>
                </a:cubicBezTo>
                <a:cubicBezTo>
                  <a:pt x="43" y="22"/>
                  <a:pt x="43" y="22"/>
                  <a:pt x="43" y="22"/>
                </a:cubicBezTo>
                <a:cubicBezTo>
                  <a:pt x="10" y="22"/>
                  <a:pt x="10" y="22"/>
                  <a:pt x="10" y="22"/>
                </a:cubicBezTo>
                <a:close/>
                <a:moveTo>
                  <a:pt x="70" y="12"/>
                </a:moveTo>
                <a:cubicBezTo>
                  <a:pt x="71" y="11"/>
                  <a:pt x="71" y="10"/>
                  <a:pt x="71" y="9"/>
                </a:cubicBezTo>
                <a:cubicBezTo>
                  <a:pt x="74" y="10"/>
                  <a:pt x="74" y="10"/>
                  <a:pt x="74" y="10"/>
                </a:cubicBezTo>
                <a:cubicBezTo>
                  <a:pt x="72" y="13"/>
                  <a:pt x="67" y="24"/>
                  <a:pt x="67" y="25"/>
                </a:cubicBezTo>
                <a:cubicBezTo>
                  <a:pt x="68" y="27"/>
                  <a:pt x="69" y="27"/>
                  <a:pt x="69" y="27"/>
                </a:cubicBezTo>
                <a:cubicBezTo>
                  <a:pt x="70" y="24"/>
                  <a:pt x="70" y="24"/>
                  <a:pt x="70" y="24"/>
                </a:cubicBezTo>
                <a:cubicBezTo>
                  <a:pt x="70" y="24"/>
                  <a:pt x="69" y="24"/>
                  <a:pt x="69" y="24"/>
                </a:cubicBezTo>
                <a:cubicBezTo>
                  <a:pt x="69" y="24"/>
                  <a:pt x="76" y="10"/>
                  <a:pt x="76" y="10"/>
                </a:cubicBezTo>
                <a:cubicBezTo>
                  <a:pt x="77" y="9"/>
                  <a:pt x="77" y="9"/>
                  <a:pt x="77" y="9"/>
                </a:cubicBezTo>
                <a:cubicBezTo>
                  <a:pt x="75" y="8"/>
                  <a:pt x="75" y="8"/>
                  <a:pt x="75" y="8"/>
                </a:cubicBezTo>
                <a:cubicBezTo>
                  <a:pt x="71" y="7"/>
                  <a:pt x="71" y="7"/>
                  <a:pt x="71" y="7"/>
                </a:cubicBezTo>
                <a:cubicBezTo>
                  <a:pt x="71" y="0"/>
                  <a:pt x="65" y="0"/>
                  <a:pt x="61" y="9"/>
                </a:cubicBezTo>
                <a:cubicBezTo>
                  <a:pt x="59" y="15"/>
                  <a:pt x="57" y="20"/>
                  <a:pt x="55" y="25"/>
                </a:cubicBezTo>
                <a:cubicBezTo>
                  <a:pt x="65" y="29"/>
                  <a:pt x="65" y="29"/>
                  <a:pt x="65" y="29"/>
                </a:cubicBezTo>
                <a:cubicBezTo>
                  <a:pt x="67" y="23"/>
                  <a:pt x="69" y="18"/>
                  <a:pt x="70" y="12"/>
                </a:cubicBezTo>
                <a:close/>
                <a:moveTo>
                  <a:pt x="52" y="40"/>
                </a:moveTo>
                <a:cubicBezTo>
                  <a:pt x="49" y="42"/>
                  <a:pt x="49" y="42"/>
                  <a:pt x="49" y="42"/>
                </a:cubicBezTo>
                <a:cubicBezTo>
                  <a:pt x="50" y="49"/>
                  <a:pt x="50" y="49"/>
                  <a:pt x="50" y="49"/>
                </a:cubicBezTo>
                <a:cubicBezTo>
                  <a:pt x="51" y="49"/>
                  <a:pt x="51" y="49"/>
                  <a:pt x="51" y="49"/>
                </a:cubicBezTo>
                <a:cubicBezTo>
                  <a:pt x="53" y="45"/>
                  <a:pt x="53" y="45"/>
                  <a:pt x="53" y="45"/>
                </a:cubicBezTo>
                <a:cubicBezTo>
                  <a:pt x="52" y="45"/>
                  <a:pt x="52" y="44"/>
                  <a:pt x="52" y="44"/>
                </a:cubicBezTo>
                <a:cubicBezTo>
                  <a:pt x="53" y="43"/>
                  <a:pt x="54" y="42"/>
                  <a:pt x="54" y="43"/>
                </a:cubicBezTo>
                <a:cubicBezTo>
                  <a:pt x="55" y="43"/>
                  <a:pt x="55" y="44"/>
                  <a:pt x="55" y="45"/>
                </a:cubicBezTo>
                <a:cubicBezTo>
                  <a:pt x="55" y="45"/>
                  <a:pt x="54" y="46"/>
                  <a:pt x="54" y="46"/>
                </a:cubicBezTo>
                <a:cubicBezTo>
                  <a:pt x="52" y="50"/>
                  <a:pt x="52" y="50"/>
                  <a:pt x="52" y="50"/>
                </a:cubicBezTo>
                <a:cubicBezTo>
                  <a:pt x="53" y="50"/>
                  <a:pt x="53" y="50"/>
                  <a:pt x="53" y="50"/>
                </a:cubicBezTo>
                <a:cubicBezTo>
                  <a:pt x="58" y="46"/>
                  <a:pt x="58" y="46"/>
                  <a:pt x="58" y="46"/>
                </a:cubicBezTo>
                <a:cubicBezTo>
                  <a:pt x="59" y="42"/>
                  <a:pt x="59" y="42"/>
                  <a:pt x="59" y="42"/>
                </a:cubicBezTo>
                <a:cubicBezTo>
                  <a:pt x="52" y="40"/>
                  <a:pt x="52" y="40"/>
                  <a:pt x="52" y="40"/>
                </a:cubicBezTo>
                <a:close/>
                <a:moveTo>
                  <a:pt x="64" y="30"/>
                </a:moveTo>
                <a:cubicBezTo>
                  <a:pt x="55" y="27"/>
                  <a:pt x="55" y="27"/>
                  <a:pt x="55" y="27"/>
                </a:cubicBezTo>
                <a:cubicBezTo>
                  <a:pt x="54" y="31"/>
                  <a:pt x="53" y="34"/>
                  <a:pt x="51" y="38"/>
                </a:cubicBezTo>
                <a:cubicBezTo>
                  <a:pt x="54" y="39"/>
                  <a:pt x="57" y="40"/>
                  <a:pt x="59" y="41"/>
                </a:cubicBezTo>
                <a:cubicBezTo>
                  <a:pt x="61" y="38"/>
                  <a:pt x="63" y="34"/>
                  <a:pt x="64" y="30"/>
                </a:cubicBezTo>
                <a:close/>
                <a:moveTo>
                  <a:pt x="23" y="50"/>
                </a:moveTo>
                <a:cubicBezTo>
                  <a:pt x="24" y="52"/>
                  <a:pt x="24" y="52"/>
                  <a:pt x="24" y="52"/>
                </a:cubicBezTo>
                <a:cubicBezTo>
                  <a:pt x="24" y="52"/>
                  <a:pt x="30" y="46"/>
                  <a:pt x="30" y="47"/>
                </a:cubicBezTo>
                <a:cubicBezTo>
                  <a:pt x="30" y="47"/>
                  <a:pt x="30" y="47"/>
                  <a:pt x="29" y="48"/>
                </a:cubicBezTo>
                <a:cubicBezTo>
                  <a:pt x="28" y="49"/>
                  <a:pt x="28" y="49"/>
                  <a:pt x="28" y="50"/>
                </a:cubicBezTo>
                <a:cubicBezTo>
                  <a:pt x="28" y="51"/>
                  <a:pt x="28" y="52"/>
                  <a:pt x="30" y="52"/>
                </a:cubicBezTo>
                <a:cubicBezTo>
                  <a:pt x="32" y="52"/>
                  <a:pt x="33" y="51"/>
                  <a:pt x="34" y="51"/>
                </a:cubicBezTo>
                <a:cubicBezTo>
                  <a:pt x="35" y="51"/>
                  <a:pt x="36" y="50"/>
                  <a:pt x="37" y="50"/>
                </a:cubicBezTo>
                <a:cubicBezTo>
                  <a:pt x="37" y="51"/>
                  <a:pt x="37" y="51"/>
                  <a:pt x="38" y="51"/>
                </a:cubicBezTo>
                <a:cubicBezTo>
                  <a:pt x="38" y="51"/>
                  <a:pt x="39" y="51"/>
                  <a:pt x="40" y="51"/>
                </a:cubicBezTo>
                <a:cubicBezTo>
                  <a:pt x="40" y="51"/>
                  <a:pt x="40" y="51"/>
                  <a:pt x="40" y="51"/>
                </a:cubicBezTo>
                <a:cubicBezTo>
                  <a:pt x="40" y="51"/>
                  <a:pt x="40" y="51"/>
                  <a:pt x="40" y="51"/>
                </a:cubicBezTo>
                <a:cubicBezTo>
                  <a:pt x="40" y="51"/>
                  <a:pt x="40" y="51"/>
                  <a:pt x="40" y="51"/>
                </a:cubicBezTo>
                <a:cubicBezTo>
                  <a:pt x="40" y="52"/>
                  <a:pt x="40" y="53"/>
                  <a:pt x="40" y="54"/>
                </a:cubicBezTo>
                <a:cubicBezTo>
                  <a:pt x="40" y="55"/>
                  <a:pt x="41" y="55"/>
                  <a:pt x="42" y="55"/>
                </a:cubicBezTo>
                <a:cubicBezTo>
                  <a:pt x="43" y="54"/>
                  <a:pt x="46" y="55"/>
                  <a:pt x="46" y="55"/>
                </a:cubicBezTo>
                <a:cubicBezTo>
                  <a:pt x="46" y="52"/>
                  <a:pt x="46" y="52"/>
                  <a:pt x="46" y="52"/>
                </a:cubicBezTo>
                <a:cubicBezTo>
                  <a:pt x="46" y="52"/>
                  <a:pt x="44" y="52"/>
                  <a:pt x="43" y="52"/>
                </a:cubicBezTo>
                <a:cubicBezTo>
                  <a:pt x="43" y="52"/>
                  <a:pt x="43" y="52"/>
                  <a:pt x="43" y="52"/>
                </a:cubicBezTo>
                <a:cubicBezTo>
                  <a:pt x="43" y="52"/>
                  <a:pt x="43" y="52"/>
                  <a:pt x="43" y="52"/>
                </a:cubicBezTo>
                <a:cubicBezTo>
                  <a:pt x="43" y="51"/>
                  <a:pt x="43" y="51"/>
                  <a:pt x="43" y="51"/>
                </a:cubicBezTo>
                <a:cubicBezTo>
                  <a:pt x="43" y="49"/>
                  <a:pt x="43" y="48"/>
                  <a:pt x="42" y="48"/>
                </a:cubicBezTo>
                <a:cubicBezTo>
                  <a:pt x="41" y="48"/>
                  <a:pt x="40" y="48"/>
                  <a:pt x="39" y="49"/>
                </a:cubicBezTo>
                <a:cubicBezTo>
                  <a:pt x="39" y="49"/>
                  <a:pt x="39" y="49"/>
                  <a:pt x="39" y="49"/>
                </a:cubicBezTo>
                <a:cubicBezTo>
                  <a:pt x="37" y="47"/>
                  <a:pt x="35" y="48"/>
                  <a:pt x="33" y="49"/>
                </a:cubicBezTo>
                <a:cubicBezTo>
                  <a:pt x="33" y="49"/>
                  <a:pt x="32" y="49"/>
                  <a:pt x="31" y="49"/>
                </a:cubicBezTo>
                <a:cubicBezTo>
                  <a:pt x="32" y="48"/>
                  <a:pt x="33" y="48"/>
                  <a:pt x="33" y="47"/>
                </a:cubicBezTo>
                <a:cubicBezTo>
                  <a:pt x="33" y="42"/>
                  <a:pt x="23" y="50"/>
                  <a:pt x="23" y="5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21"/>
          <p:cNvSpPr>
            <a:spLocks noEditPoints="1" noChangeArrowheads="1"/>
          </p:cNvSpPr>
          <p:nvPr/>
        </p:nvSpPr>
        <p:spPr bwMode="auto">
          <a:xfrm>
            <a:off x="9131300" y="2220913"/>
            <a:ext cx="482600" cy="388937"/>
          </a:xfrm>
          <a:custGeom>
            <a:avLst/>
            <a:gdLst>
              <a:gd name="T0" fmla="*/ 212 w 228"/>
              <a:gd name="T1" fmla="*/ 150 h 202"/>
              <a:gd name="T2" fmla="*/ 142 w 228"/>
              <a:gd name="T3" fmla="*/ 150 h 202"/>
              <a:gd name="T4" fmla="*/ 0 w 228"/>
              <a:gd name="T5" fmla="*/ 0 h 202"/>
              <a:gd name="T6" fmla="*/ 173 w 228"/>
              <a:gd name="T7" fmla="*/ 95 h 202"/>
              <a:gd name="T8" fmla="*/ 166 w 228"/>
              <a:gd name="T9" fmla="*/ 103 h 202"/>
              <a:gd name="T10" fmla="*/ 156 w 228"/>
              <a:gd name="T11" fmla="*/ 107 h 202"/>
              <a:gd name="T12" fmla="*/ 154 w 228"/>
              <a:gd name="T13" fmla="*/ 117 h 202"/>
              <a:gd name="T14" fmla="*/ 148 w 228"/>
              <a:gd name="T15" fmla="*/ 126 h 202"/>
              <a:gd name="T16" fmla="*/ 153 w 228"/>
              <a:gd name="T17" fmla="*/ 135 h 202"/>
              <a:gd name="T18" fmla="*/ 153 w 228"/>
              <a:gd name="T19" fmla="*/ 146 h 202"/>
              <a:gd name="T20" fmla="*/ 163 w 228"/>
              <a:gd name="T21" fmla="*/ 150 h 202"/>
              <a:gd name="T22" fmla="*/ 169 w 228"/>
              <a:gd name="T23" fmla="*/ 159 h 202"/>
              <a:gd name="T24" fmla="*/ 180 w 228"/>
              <a:gd name="T25" fmla="*/ 157 h 202"/>
              <a:gd name="T26" fmla="*/ 190 w 228"/>
              <a:gd name="T27" fmla="*/ 160 h 202"/>
              <a:gd name="T28" fmla="*/ 197 w 228"/>
              <a:gd name="T29" fmla="*/ 153 h 202"/>
              <a:gd name="T30" fmla="*/ 207 w 228"/>
              <a:gd name="T31" fmla="*/ 149 h 202"/>
              <a:gd name="T32" fmla="*/ 209 w 228"/>
              <a:gd name="T33" fmla="*/ 139 h 202"/>
              <a:gd name="T34" fmla="*/ 215 w 228"/>
              <a:gd name="T35" fmla="*/ 130 h 202"/>
              <a:gd name="T36" fmla="*/ 210 w 228"/>
              <a:gd name="T37" fmla="*/ 121 h 202"/>
              <a:gd name="T38" fmla="*/ 210 w 228"/>
              <a:gd name="T39" fmla="*/ 110 h 202"/>
              <a:gd name="T40" fmla="*/ 200 w 228"/>
              <a:gd name="T41" fmla="*/ 105 h 202"/>
              <a:gd name="T42" fmla="*/ 194 w 228"/>
              <a:gd name="T43" fmla="*/ 97 h 202"/>
              <a:gd name="T44" fmla="*/ 183 w 228"/>
              <a:gd name="T45" fmla="*/ 99 h 202"/>
              <a:gd name="T46" fmla="*/ 143 w 228"/>
              <a:gd name="T47" fmla="*/ 192 h 202"/>
              <a:gd name="T48" fmla="*/ 171 w 228"/>
              <a:gd name="T49" fmla="*/ 187 h 202"/>
              <a:gd name="T50" fmla="*/ 175 w 228"/>
              <a:gd name="T51" fmla="*/ 161 h 202"/>
              <a:gd name="T52" fmla="*/ 163 w 228"/>
              <a:gd name="T53" fmla="*/ 162 h 202"/>
              <a:gd name="T54" fmla="*/ 157 w 228"/>
              <a:gd name="T55" fmla="*/ 152 h 202"/>
              <a:gd name="T56" fmla="*/ 146 w 228"/>
              <a:gd name="T57" fmla="*/ 183 h 202"/>
              <a:gd name="T58" fmla="*/ 204 w 228"/>
              <a:gd name="T59" fmla="*/ 152 h 202"/>
              <a:gd name="T60" fmla="*/ 199 w 228"/>
              <a:gd name="T61" fmla="*/ 162 h 202"/>
              <a:gd name="T62" fmla="*/ 188 w 228"/>
              <a:gd name="T63" fmla="*/ 163 h 202"/>
              <a:gd name="T64" fmla="*/ 209 w 228"/>
              <a:gd name="T65" fmla="*/ 188 h 202"/>
              <a:gd name="T66" fmla="*/ 157 w 228"/>
              <a:gd name="T67" fmla="*/ 128 h 202"/>
              <a:gd name="T68" fmla="*/ 199 w 228"/>
              <a:gd name="T69" fmla="*/ 110 h 202"/>
              <a:gd name="T70" fmla="*/ 158 w 228"/>
              <a:gd name="T71" fmla="*/ 128 h 202"/>
              <a:gd name="T72" fmla="*/ 198 w 228"/>
              <a:gd name="T73" fmla="*/ 111 h 202"/>
              <a:gd name="T74" fmla="*/ 145 w 228"/>
              <a:gd name="T75" fmla="*/ 135 h 202"/>
              <a:gd name="T76" fmla="*/ 149 w 228"/>
              <a:gd name="T77" fmla="*/ 124 h 202"/>
              <a:gd name="T78" fmla="*/ 148 w 228"/>
              <a:gd name="T79" fmla="*/ 112 h 202"/>
              <a:gd name="T80" fmla="*/ 158 w 228"/>
              <a:gd name="T81" fmla="*/ 106 h 202"/>
              <a:gd name="T82" fmla="*/ 164 w 228"/>
              <a:gd name="T83" fmla="*/ 95 h 202"/>
              <a:gd name="T84" fmla="*/ 175 w 228"/>
              <a:gd name="T85" fmla="*/ 96 h 202"/>
              <a:gd name="T86" fmla="*/ 186 w 228"/>
              <a:gd name="T87" fmla="*/ 91 h 202"/>
              <a:gd name="T88" fmla="*/ 195 w 228"/>
              <a:gd name="T89" fmla="*/ 98 h 202"/>
              <a:gd name="T90" fmla="*/ 207 w 228"/>
              <a:gd name="T91" fmla="*/ 101 h 202"/>
              <a:gd name="T92" fmla="*/ 34 w 228"/>
              <a:gd name="T93" fmla="*/ 126 h 202"/>
              <a:gd name="T94" fmla="*/ 90 w 228"/>
              <a:gd name="T95" fmla="*/ 126 h 202"/>
              <a:gd name="T96" fmla="*/ 45 w 228"/>
              <a:gd name="T97" fmla="*/ 55 h 202"/>
              <a:gd name="T98" fmla="*/ 45 w 228"/>
              <a:gd name="T99" fmla="*/ 44 h 202"/>
              <a:gd name="T100" fmla="*/ 45 w 228"/>
              <a:gd name="T101" fmla="*/ 64 h 202"/>
              <a:gd name="T102" fmla="*/ 45 w 228"/>
              <a:gd name="T103" fmla="*/ 84 h 202"/>
              <a:gd name="T104" fmla="*/ 45 w 228"/>
              <a:gd name="T105" fmla="*/ 7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8" h="202">
                <a:moveTo>
                  <a:pt x="0" y="0"/>
                </a:moveTo>
                <a:cubicBezTo>
                  <a:pt x="228" y="0"/>
                  <a:pt x="228" y="0"/>
                  <a:pt x="228" y="0"/>
                </a:cubicBezTo>
                <a:cubicBezTo>
                  <a:pt x="228" y="160"/>
                  <a:pt x="228" y="160"/>
                  <a:pt x="228" y="160"/>
                </a:cubicBezTo>
                <a:cubicBezTo>
                  <a:pt x="215" y="160"/>
                  <a:pt x="215" y="160"/>
                  <a:pt x="215" y="160"/>
                </a:cubicBezTo>
                <a:cubicBezTo>
                  <a:pt x="212" y="150"/>
                  <a:pt x="212" y="150"/>
                  <a:pt x="212" y="150"/>
                </a:cubicBezTo>
                <a:cubicBezTo>
                  <a:pt x="219" y="150"/>
                  <a:pt x="219" y="150"/>
                  <a:pt x="219" y="150"/>
                </a:cubicBezTo>
                <a:cubicBezTo>
                  <a:pt x="219" y="11"/>
                  <a:pt x="219" y="11"/>
                  <a:pt x="219" y="11"/>
                </a:cubicBezTo>
                <a:cubicBezTo>
                  <a:pt x="11" y="11"/>
                  <a:pt x="11" y="11"/>
                  <a:pt x="11" y="11"/>
                </a:cubicBezTo>
                <a:cubicBezTo>
                  <a:pt x="11" y="150"/>
                  <a:pt x="11" y="150"/>
                  <a:pt x="11" y="150"/>
                </a:cubicBezTo>
                <a:cubicBezTo>
                  <a:pt x="142" y="150"/>
                  <a:pt x="142" y="150"/>
                  <a:pt x="142" y="150"/>
                </a:cubicBezTo>
                <a:cubicBezTo>
                  <a:pt x="156" y="150"/>
                  <a:pt x="156" y="150"/>
                  <a:pt x="156" y="150"/>
                </a:cubicBezTo>
                <a:cubicBezTo>
                  <a:pt x="152" y="160"/>
                  <a:pt x="152" y="160"/>
                  <a:pt x="152" y="160"/>
                </a:cubicBezTo>
                <a:cubicBezTo>
                  <a:pt x="142" y="160"/>
                  <a:pt x="142" y="160"/>
                  <a:pt x="142" y="160"/>
                </a:cubicBezTo>
                <a:cubicBezTo>
                  <a:pt x="0" y="160"/>
                  <a:pt x="0" y="160"/>
                  <a:pt x="0" y="160"/>
                </a:cubicBezTo>
                <a:cubicBezTo>
                  <a:pt x="0" y="0"/>
                  <a:pt x="0" y="0"/>
                  <a:pt x="0" y="0"/>
                </a:cubicBezTo>
                <a:close/>
                <a:moveTo>
                  <a:pt x="181" y="94"/>
                </a:moveTo>
                <a:cubicBezTo>
                  <a:pt x="180" y="99"/>
                  <a:pt x="180" y="99"/>
                  <a:pt x="180" y="99"/>
                </a:cubicBezTo>
                <a:cubicBezTo>
                  <a:pt x="177" y="95"/>
                  <a:pt x="177" y="95"/>
                  <a:pt x="177" y="95"/>
                </a:cubicBezTo>
                <a:cubicBezTo>
                  <a:pt x="176" y="99"/>
                  <a:pt x="176" y="99"/>
                  <a:pt x="176" y="99"/>
                </a:cubicBezTo>
                <a:cubicBezTo>
                  <a:pt x="173" y="95"/>
                  <a:pt x="173" y="95"/>
                  <a:pt x="173" y="95"/>
                </a:cubicBezTo>
                <a:cubicBezTo>
                  <a:pt x="172" y="100"/>
                  <a:pt x="172" y="100"/>
                  <a:pt x="172" y="100"/>
                </a:cubicBezTo>
                <a:cubicBezTo>
                  <a:pt x="169" y="97"/>
                  <a:pt x="169" y="97"/>
                  <a:pt x="169" y="97"/>
                </a:cubicBezTo>
                <a:cubicBezTo>
                  <a:pt x="169" y="101"/>
                  <a:pt x="169" y="101"/>
                  <a:pt x="169" y="101"/>
                </a:cubicBezTo>
                <a:cubicBezTo>
                  <a:pt x="165" y="99"/>
                  <a:pt x="165" y="99"/>
                  <a:pt x="165" y="99"/>
                </a:cubicBezTo>
                <a:cubicBezTo>
                  <a:pt x="166" y="103"/>
                  <a:pt x="166" y="103"/>
                  <a:pt x="166" y="103"/>
                </a:cubicBezTo>
                <a:cubicBezTo>
                  <a:pt x="162" y="101"/>
                  <a:pt x="162" y="101"/>
                  <a:pt x="162" y="101"/>
                </a:cubicBezTo>
                <a:cubicBezTo>
                  <a:pt x="163" y="105"/>
                  <a:pt x="163" y="105"/>
                  <a:pt x="163" y="105"/>
                </a:cubicBezTo>
                <a:cubicBezTo>
                  <a:pt x="159" y="103"/>
                  <a:pt x="159" y="103"/>
                  <a:pt x="159" y="103"/>
                </a:cubicBezTo>
                <a:cubicBezTo>
                  <a:pt x="160" y="108"/>
                  <a:pt x="160" y="108"/>
                  <a:pt x="160" y="108"/>
                </a:cubicBezTo>
                <a:cubicBezTo>
                  <a:pt x="156" y="107"/>
                  <a:pt x="156" y="107"/>
                  <a:pt x="156" y="107"/>
                </a:cubicBezTo>
                <a:cubicBezTo>
                  <a:pt x="158" y="111"/>
                  <a:pt x="158" y="111"/>
                  <a:pt x="158" y="111"/>
                </a:cubicBezTo>
                <a:cubicBezTo>
                  <a:pt x="153" y="110"/>
                  <a:pt x="153" y="110"/>
                  <a:pt x="153" y="110"/>
                </a:cubicBezTo>
                <a:cubicBezTo>
                  <a:pt x="156" y="114"/>
                  <a:pt x="156" y="114"/>
                  <a:pt x="156" y="114"/>
                </a:cubicBezTo>
                <a:cubicBezTo>
                  <a:pt x="151" y="114"/>
                  <a:pt x="151" y="114"/>
                  <a:pt x="151" y="114"/>
                </a:cubicBezTo>
                <a:cubicBezTo>
                  <a:pt x="154" y="117"/>
                  <a:pt x="154" y="117"/>
                  <a:pt x="154" y="117"/>
                </a:cubicBezTo>
                <a:cubicBezTo>
                  <a:pt x="150" y="117"/>
                  <a:pt x="150" y="117"/>
                  <a:pt x="150" y="117"/>
                </a:cubicBezTo>
                <a:cubicBezTo>
                  <a:pt x="153" y="121"/>
                  <a:pt x="153" y="121"/>
                  <a:pt x="153" y="121"/>
                </a:cubicBezTo>
                <a:cubicBezTo>
                  <a:pt x="149" y="122"/>
                  <a:pt x="149" y="122"/>
                  <a:pt x="149" y="122"/>
                </a:cubicBezTo>
                <a:cubicBezTo>
                  <a:pt x="152" y="124"/>
                  <a:pt x="152" y="124"/>
                  <a:pt x="152" y="124"/>
                </a:cubicBezTo>
                <a:cubicBezTo>
                  <a:pt x="148" y="126"/>
                  <a:pt x="148" y="126"/>
                  <a:pt x="148" y="126"/>
                </a:cubicBezTo>
                <a:cubicBezTo>
                  <a:pt x="152" y="128"/>
                  <a:pt x="152" y="128"/>
                  <a:pt x="152" y="128"/>
                </a:cubicBezTo>
                <a:cubicBezTo>
                  <a:pt x="148" y="130"/>
                  <a:pt x="148" y="130"/>
                  <a:pt x="148" y="130"/>
                </a:cubicBezTo>
                <a:cubicBezTo>
                  <a:pt x="152" y="131"/>
                  <a:pt x="152" y="131"/>
                  <a:pt x="152" y="131"/>
                </a:cubicBezTo>
                <a:cubicBezTo>
                  <a:pt x="149" y="134"/>
                  <a:pt x="149" y="134"/>
                  <a:pt x="149" y="134"/>
                </a:cubicBezTo>
                <a:cubicBezTo>
                  <a:pt x="153" y="135"/>
                  <a:pt x="153" y="135"/>
                  <a:pt x="153" y="135"/>
                </a:cubicBezTo>
                <a:cubicBezTo>
                  <a:pt x="150" y="138"/>
                  <a:pt x="150" y="138"/>
                  <a:pt x="150" y="138"/>
                </a:cubicBezTo>
                <a:cubicBezTo>
                  <a:pt x="154" y="139"/>
                  <a:pt x="154" y="139"/>
                  <a:pt x="154" y="139"/>
                </a:cubicBezTo>
                <a:cubicBezTo>
                  <a:pt x="151" y="142"/>
                  <a:pt x="151" y="142"/>
                  <a:pt x="151" y="142"/>
                </a:cubicBezTo>
                <a:cubicBezTo>
                  <a:pt x="156" y="142"/>
                  <a:pt x="156" y="142"/>
                  <a:pt x="156" y="142"/>
                </a:cubicBezTo>
                <a:cubicBezTo>
                  <a:pt x="153" y="146"/>
                  <a:pt x="153" y="146"/>
                  <a:pt x="153" y="146"/>
                </a:cubicBezTo>
                <a:cubicBezTo>
                  <a:pt x="158" y="145"/>
                  <a:pt x="158" y="145"/>
                  <a:pt x="158" y="145"/>
                </a:cubicBezTo>
                <a:cubicBezTo>
                  <a:pt x="156" y="149"/>
                  <a:pt x="156" y="149"/>
                  <a:pt x="156" y="149"/>
                </a:cubicBezTo>
                <a:cubicBezTo>
                  <a:pt x="160" y="148"/>
                  <a:pt x="160" y="148"/>
                  <a:pt x="160" y="148"/>
                </a:cubicBezTo>
                <a:cubicBezTo>
                  <a:pt x="159" y="152"/>
                  <a:pt x="159" y="152"/>
                  <a:pt x="159" y="152"/>
                </a:cubicBezTo>
                <a:cubicBezTo>
                  <a:pt x="163" y="150"/>
                  <a:pt x="163" y="150"/>
                  <a:pt x="163" y="150"/>
                </a:cubicBezTo>
                <a:cubicBezTo>
                  <a:pt x="162" y="155"/>
                  <a:pt x="162" y="155"/>
                  <a:pt x="162" y="155"/>
                </a:cubicBezTo>
                <a:cubicBezTo>
                  <a:pt x="166" y="153"/>
                  <a:pt x="166" y="153"/>
                  <a:pt x="166" y="153"/>
                </a:cubicBezTo>
                <a:cubicBezTo>
                  <a:pt x="165" y="157"/>
                  <a:pt x="165" y="157"/>
                  <a:pt x="165" y="157"/>
                </a:cubicBezTo>
                <a:cubicBezTo>
                  <a:pt x="169" y="154"/>
                  <a:pt x="169" y="154"/>
                  <a:pt x="169" y="154"/>
                </a:cubicBezTo>
                <a:cubicBezTo>
                  <a:pt x="169" y="159"/>
                  <a:pt x="169" y="159"/>
                  <a:pt x="169" y="159"/>
                </a:cubicBezTo>
                <a:cubicBezTo>
                  <a:pt x="172" y="156"/>
                  <a:pt x="172" y="156"/>
                  <a:pt x="172" y="156"/>
                </a:cubicBezTo>
                <a:cubicBezTo>
                  <a:pt x="173" y="160"/>
                  <a:pt x="173" y="160"/>
                  <a:pt x="173" y="160"/>
                </a:cubicBezTo>
                <a:cubicBezTo>
                  <a:pt x="176" y="157"/>
                  <a:pt x="176" y="157"/>
                  <a:pt x="176" y="157"/>
                </a:cubicBezTo>
                <a:cubicBezTo>
                  <a:pt x="177" y="161"/>
                  <a:pt x="177" y="161"/>
                  <a:pt x="177" y="161"/>
                </a:cubicBezTo>
                <a:cubicBezTo>
                  <a:pt x="180" y="157"/>
                  <a:pt x="180" y="157"/>
                  <a:pt x="180" y="157"/>
                </a:cubicBezTo>
                <a:cubicBezTo>
                  <a:pt x="181" y="161"/>
                  <a:pt x="181" y="161"/>
                  <a:pt x="181" y="161"/>
                </a:cubicBezTo>
                <a:cubicBezTo>
                  <a:pt x="183" y="157"/>
                  <a:pt x="183" y="157"/>
                  <a:pt x="183" y="157"/>
                </a:cubicBezTo>
                <a:cubicBezTo>
                  <a:pt x="186" y="161"/>
                  <a:pt x="186" y="161"/>
                  <a:pt x="186" y="161"/>
                </a:cubicBezTo>
                <a:cubicBezTo>
                  <a:pt x="187" y="157"/>
                  <a:pt x="187" y="157"/>
                  <a:pt x="187" y="157"/>
                </a:cubicBezTo>
                <a:cubicBezTo>
                  <a:pt x="190" y="160"/>
                  <a:pt x="190" y="160"/>
                  <a:pt x="190" y="160"/>
                </a:cubicBezTo>
                <a:cubicBezTo>
                  <a:pt x="190" y="156"/>
                  <a:pt x="190" y="156"/>
                  <a:pt x="190" y="156"/>
                </a:cubicBezTo>
                <a:cubicBezTo>
                  <a:pt x="194" y="159"/>
                  <a:pt x="194" y="159"/>
                  <a:pt x="194" y="159"/>
                </a:cubicBezTo>
                <a:cubicBezTo>
                  <a:pt x="194" y="154"/>
                  <a:pt x="194" y="154"/>
                  <a:pt x="194" y="154"/>
                </a:cubicBezTo>
                <a:cubicBezTo>
                  <a:pt x="197" y="157"/>
                  <a:pt x="197" y="157"/>
                  <a:pt x="197" y="157"/>
                </a:cubicBezTo>
                <a:cubicBezTo>
                  <a:pt x="197" y="153"/>
                  <a:pt x="197" y="153"/>
                  <a:pt x="197" y="153"/>
                </a:cubicBezTo>
                <a:cubicBezTo>
                  <a:pt x="201" y="155"/>
                  <a:pt x="201" y="155"/>
                  <a:pt x="201" y="155"/>
                </a:cubicBezTo>
                <a:cubicBezTo>
                  <a:pt x="200" y="150"/>
                  <a:pt x="200" y="150"/>
                  <a:pt x="200" y="150"/>
                </a:cubicBezTo>
                <a:cubicBezTo>
                  <a:pt x="204" y="152"/>
                  <a:pt x="204" y="152"/>
                  <a:pt x="204" y="152"/>
                </a:cubicBezTo>
                <a:cubicBezTo>
                  <a:pt x="203" y="148"/>
                  <a:pt x="203" y="148"/>
                  <a:pt x="203" y="148"/>
                </a:cubicBezTo>
                <a:cubicBezTo>
                  <a:pt x="207" y="149"/>
                  <a:pt x="207" y="149"/>
                  <a:pt x="207" y="149"/>
                </a:cubicBezTo>
                <a:cubicBezTo>
                  <a:pt x="205" y="145"/>
                  <a:pt x="205" y="145"/>
                  <a:pt x="205" y="145"/>
                </a:cubicBezTo>
                <a:cubicBezTo>
                  <a:pt x="210" y="146"/>
                  <a:pt x="210" y="146"/>
                  <a:pt x="210" y="146"/>
                </a:cubicBezTo>
                <a:cubicBezTo>
                  <a:pt x="207" y="142"/>
                  <a:pt x="207" y="142"/>
                  <a:pt x="207" y="142"/>
                </a:cubicBezTo>
                <a:cubicBezTo>
                  <a:pt x="212" y="142"/>
                  <a:pt x="212" y="142"/>
                  <a:pt x="212" y="142"/>
                </a:cubicBezTo>
                <a:cubicBezTo>
                  <a:pt x="209" y="139"/>
                  <a:pt x="209" y="139"/>
                  <a:pt x="209" y="139"/>
                </a:cubicBezTo>
                <a:cubicBezTo>
                  <a:pt x="213" y="138"/>
                  <a:pt x="213" y="138"/>
                  <a:pt x="213" y="138"/>
                </a:cubicBezTo>
                <a:cubicBezTo>
                  <a:pt x="210" y="135"/>
                  <a:pt x="210" y="135"/>
                  <a:pt x="210" y="135"/>
                </a:cubicBezTo>
                <a:cubicBezTo>
                  <a:pt x="214" y="134"/>
                  <a:pt x="214" y="134"/>
                  <a:pt x="214" y="134"/>
                </a:cubicBezTo>
                <a:cubicBezTo>
                  <a:pt x="211" y="131"/>
                  <a:pt x="211" y="131"/>
                  <a:pt x="211" y="131"/>
                </a:cubicBezTo>
                <a:cubicBezTo>
                  <a:pt x="215" y="130"/>
                  <a:pt x="215" y="130"/>
                  <a:pt x="215" y="130"/>
                </a:cubicBezTo>
                <a:cubicBezTo>
                  <a:pt x="211" y="128"/>
                  <a:pt x="211" y="128"/>
                  <a:pt x="211" y="128"/>
                </a:cubicBezTo>
                <a:cubicBezTo>
                  <a:pt x="215" y="126"/>
                  <a:pt x="215" y="126"/>
                  <a:pt x="215" y="126"/>
                </a:cubicBezTo>
                <a:cubicBezTo>
                  <a:pt x="211" y="124"/>
                  <a:pt x="211" y="124"/>
                  <a:pt x="211" y="124"/>
                </a:cubicBezTo>
                <a:cubicBezTo>
                  <a:pt x="214" y="122"/>
                  <a:pt x="214" y="122"/>
                  <a:pt x="214" y="122"/>
                </a:cubicBezTo>
                <a:cubicBezTo>
                  <a:pt x="210" y="121"/>
                  <a:pt x="210" y="121"/>
                  <a:pt x="210" y="121"/>
                </a:cubicBezTo>
                <a:cubicBezTo>
                  <a:pt x="213" y="117"/>
                  <a:pt x="213" y="117"/>
                  <a:pt x="213" y="117"/>
                </a:cubicBezTo>
                <a:cubicBezTo>
                  <a:pt x="209" y="117"/>
                  <a:pt x="209" y="117"/>
                  <a:pt x="209" y="117"/>
                </a:cubicBezTo>
                <a:cubicBezTo>
                  <a:pt x="212" y="114"/>
                  <a:pt x="212" y="114"/>
                  <a:pt x="212" y="114"/>
                </a:cubicBezTo>
                <a:cubicBezTo>
                  <a:pt x="207" y="114"/>
                  <a:pt x="207" y="114"/>
                  <a:pt x="207" y="114"/>
                </a:cubicBezTo>
                <a:cubicBezTo>
                  <a:pt x="210" y="110"/>
                  <a:pt x="210" y="110"/>
                  <a:pt x="210" y="110"/>
                </a:cubicBezTo>
                <a:cubicBezTo>
                  <a:pt x="205" y="111"/>
                  <a:pt x="205" y="111"/>
                  <a:pt x="205" y="111"/>
                </a:cubicBezTo>
                <a:cubicBezTo>
                  <a:pt x="207" y="107"/>
                  <a:pt x="207" y="107"/>
                  <a:pt x="207" y="107"/>
                </a:cubicBezTo>
                <a:cubicBezTo>
                  <a:pt x="203" y="108"/>
                  <a:pt x="203" y="108"/>
                  <a:pt x="203" y="108"/>
                </a:cubicBezTo>
                <a:cubicBezTo>
                  <a:pt x="204" y="103"/>
                  <a:pt x="204" y="103"/>
                  <a:pt x="204" y="103"/>
                </a:cubicBezTo>
                <a:cubicBezTo>
                  <a:pt x="200" y="105"/>
                  <a:pt x="200" y="105"/>
                  <a:pt x="200" y="105"/>
                </a:cubicBezTo>
                <a:cubicBezTo>
                  <a:pt x="201" y="101"/>
                  <a:pt x="201" y="101"/>
                  <a:pt x="201" y="101"/>
                </a:cubicBezTo>
                <a:cubicBezTo>
                  <a:pt x="197" y="103"/>
                  <a:pt x="197" y="103"/>
                  <a:pt x="197" y="103"/>
                </a:cubicBezTo>
                <a:cubicBezTo>
                  <a:pt x="197" y="99"/>
                  <a:pt x="197" y="99"/>
                  <a:pt x="197" y="99"/>
                </a:cubicBezTo>
                <a:cubicBezTo>
                  <a:pt x="194" y="101"/>
                  <a:pt x="194" y="101"/>
                  <a:pt x="194" y="101"/>
                </a:cubicBezTo>
                <a:cubicBezTo>
                  <a:pt x="194" y="97"/>
                  <a:pt x="194" y="97"/>
                  <a:pt x="194" y="97"/>
                </a:cubicBezTo>
                <a:cubicBezTo>
                  <a:pt x="190" y="100"/>
                  <a:pt x="190" y="100"/>
                  <a:pt x="190" y="100"/>
                </a:cubicBezTo>
                <a:cubicBezTo>
                  <a:pt x="190" y="95"/>
                  <a:pt x="190" y="95"/>
                  <a:pt x="190" y="95"/>
                </a:cubicBezTo>
                <a:cubicBezTo>
                  <a:pt x="187" y="99"/>
                  <a:pt x="187" y="99"/>
                  <a:pt x="187" y="99"/>
                </a:cubicBezTo>
                <a:cubicBezTo>
                  <a:pt x="186" y="95"/>
                  <a:pt x="186" y="95"/>
                  <a:pt x="186" y="95"/>
                </a:cubicBezTo>
                <a:cubicBezTo>
                  <a:pt x="183" y="99"/>
                  <a:pt x="183" y="99"/>
                  <a:pt x="183" y="99"/>
                </a:cubicBezTo>
                <a:cubicBezTo>
                  <a:pt x="181" y="94"/>
                  <a:pt x="181" y="94"/>
                  <a:pt x="181" y="94"/>
                </a:cubicBezTo>
                <a:close/>
                <a:moveTo>
                  <a:pt x="146" y="183"/>
                </a:moveTo>
                <a:cubicBezTo>
                  <a:pt x="145" y="183"/>
                  <a:pt x="145" y="184"/>
                  <a:pt x="145" y="184"/>
                </a:cubicBezTo>
                <a:cubicBezTo>
                  <a:pt x="145" y="184"/>
                  <a:pt x="145" y="184"/>
                  <a:pt x="145" y="184"/>
                </a:cubicBezTo>
                <a:cubicBezTo>
                  <a:pt x="143" y="192"/>
                  <a:pt x="143" y="192"/>
                  <a:pt x="143" y="192"/>
                </a:cubicBezTo>
                <a:cubicBezTo>
                  <a:pt x="158" y="190"/>
                  <a:pt x="158" y="190"/>
                  <a:pt x="158" y="190"/>
                </a:cubicBezTo>
                <a:cubicBezTo>
                  <a:pt x="166" y="202"/>
                  <a:pt x="166" y="202"/>
                  <a:pt x="166" y="202"/>
                </a:cubicBezTo>
                <a:cubicBezTo>
                  <a:pt x="171" y="188"/>
                  <a:pt x="171" y="188"/>
                  <a:pt x="171" y="188"/>
                </a:cubicBezTo>
                <a:cubicBezTo>
                  <a:pt x="171" y="188"/>
                  <a:pt x="171" y="188"/>
                  <a:pt x="171" y="188"/>
                </a:cubicBezTo>
                <a:cubicBezTo>
                  <a:pt x="171" y="187"/>
                  <a:pt x="171" y="187"/>
                  <a:pt x="171" y="187"/>
                </a:cubicBezTo>
                <a:cubicBezTo>
                  <a:pt x="171" y="187"/>
                  <a:pt x="171" y="187"/>
                  <a:pt x="171" y="187"/>
                </a:cubicBezTo>
                <a:cubicBezTo>
                  <a:pt x="179" y="163"/>
                  <a:pt x="179" y="163"/>
                  <a:pt x="179" y="163"/>
                </a:cubicBezTo>
                <a:cubicBezTo>
                  <a:pt x="179" y="162"/>
                  <a:pt x="179" y="162"/>
                  <a:pt x="179" y="162"/>
                </a:cubicBezTo>
                <a:cubicBezTo>
                  <a:pt x="176" y="166"/>
                  <a:pt x="176" y="166"/>
                  <a:pt x="176" y="166"/>
                </a:cubicBezTo>
                <a:cubicBezTo>
                  <a:pt x="175" y="161"/>
                  <a:pt x="175" y="161"/>
                  <a:pt x="175" y="161"/>
                </a:cubicBezTo>
                <a:cubicBezTo>
                  <a:pt x="172" y="165"/>
                  <a:pt x="172" y="165"/>
                  <a:pt x="172" y="165"/>
                </a:cubicBezTo>
                <a:cubicBezTo>
                  <a:pt x="171" y="160"/>
                  <a:pt x="171" y="160"/>
                  <a:pt x="171" y="160"/>
                </a:cubicBezTo>
                <a:cubicBezTo>
                  <a:pt x="167" y="164"/>
                  <a:pt x="167" y="164"/>
                  <a:pt x="167" y="164"/>
                </a:cubicBezTo>
                <a:cubicBezTo>
                  <a:pt x="167" y="159"/>
                  <a:pt x="167" y="159"/>
                  <a:pt x="167" y="159"/>
                </a:cubicBezTo>
                <a:cubicBezTo>
                  <a:pt x="163" y="162"/>
                  <a:pt x="163" y="162"/>
                  <a:pt x="163" y="162"/>
                </a:cubicBezTo>
                <a:cubicBezTo>
                  <a:pt x="163" y="157"/>
                  <a:pt x="163" y="157"/>
                  <a:pt x="163" y="157"/>
                </a:cubicBezTo>
                <a:cubicBezTo>
                  <a:pt x="159" y="159"/>
                  <a:pt x="159" y="159"/>
                  <a:pt x="159" y="159"/>
                </a:cubicBezTo>
                <a:cubicBezTo>
                  <a:pt x="160" y="154"/>
                  <a:pt x="160" y="154"/>
                  <a:pt x="160" y="154"/>
                </a:cubicBezTo>
                <a:cubicBezTo>
                  <a:pt x="155" y="156"/>
                  <a:pt x="155" y="156"/>
                  <a:pt x="155" y="156"/>
                </a:cubicBezTo>
                <a:cubicBezTo>
                  <a:pt x="157" y="152"/>
                  <a:pt x="157" y="152"/>
                  <a:pt x="157" y="152"/>
                </a:cubicBezTo>
                <a:cubicBezTo>
                  <a:pt x="157" y="152"/>
                  <a:pt x="157" y="152"/>
                  <a:pt x="157" y="152"/>
                </a:cubicBezTo>
                <a:cubicBezTo>
                  <a:pt x="148" y="177"/>
                  <a:pt x="148" y="177"/>
                  <a:pt x="148" y="177"/>
                </a:cubicBezTo>
                <a:cubicBezTo>
                  <a:pt x="148" y="177"/>
                  <a:pt x="148" y="177"/>
                  <a:pt x="148" y="178"/>
                </a:cubicBezTo>
                <a:cubicBezTo>
                  <a:pt x="148" y="178"/>
                  <a:pt x="148" y="178"/>
                  <a:pt x="148" y="178"/>
                </a:cubicBezTo>
                <a:cubicBezTo>
                  <a:pt x="146" y="183"/>
                  <a:pt x="146" y="183"/>
                  <a:pt x="146" y="183"/>
                </a:cubicBezTo>
                <a:cubicBezTo>
                  <a:pt x="146" y="183"/>
                  <a:pt x="146" y="183"/>
                  <a:pt x="146" y="183"/>
                </a:cubicBezTo>
                <a:close/>
                <a:moveTo>
                  <a:pt x="210" y="149"/>
                </a:moveTo>
                <a:cubicBezTo>
                  <a:pt x="207" y="148"/>
                  <a:pt x="207" y="148"/>
                  <a:pt x="207" y="148"/>
                </a:cubicBezTo>
                <a:cubicBezTo>
                  <a:pt x="209" y="153"/>
                  <a:pt x="209" y="153"/>
                  <a:pt x="209" y="153"/>
                </a:cubicBezTo>
                <a:cubicBezTo>
                  <a:pt x="204" y="152"/>
                  <a:pt x="204" y="152"/>
                  <a:pt x="204" y="152"/>
                </a:cubicBezTo>
                <a:cubicBezTo>
                  <a:pt x="206" y="156"/>
                  <a:pt x="206" y="156"/>
                  <a:pt x="206" y="156"/>
                </a:cubicBezTo>
                <a:cubicBezTo>
                  <a:pt x="201" y="154"/>
                  <a:pt x="201" y="154"/>
                  <a:pt x="201" y="154"/>
                </a:cubicBezTo>
                <a:cubicBezTo>
                  <a:pt x="202" y="159"/>
                  <a:pt x="202" y="159"/>
                  <a:pt x="202" y="159"/>
                </a:cubicBezTo>
                <a:cubicBezTo>
                  <a:pt x="198" y="157"/>
                  <a:pt x="198" y="157"/>
                  <a:pt x="198" y="157"/>
                </a:cubicBezTo>
                <a:cubicBezTo>
                  <a:pt x="199" y="162"/>
                  <a:pt x="199" y="162"/>
                  <a:pt x="199" y="162"/>
                </a:cubicBezTo>
                <a:cubicBezTo>
                  <a:pt x="195" y="159"/>
                  <a:pt x="195" y="159"/>
                  <a:pt x="195" y="159"/>
                </a:cubicBezTo>
                <a:cubicBezTo>
                  <a:pt x="194" y="164"/>
                  <a:pt x="194" y="164"/>
                  <a:pt x="194" y="164"/>
                </a:cubicBezTo>
                <a:cubicBezTo>
                  <a:pt x="191" y="160"/>
                  <a:pt x="191" y="160"/>
                  <a:pt x="191" y="160"/>
                </a:cubicBezTo>
                <a:cubicBezTo>
                  <a:pt x="190" y="165"/>
                  <a:pt x="190" y="165"/>
                  <a:pt x="190" y="165"/>
                </a:cubicBezTo>
                <a:cubicBezTo>
                  <a:pt x="188" y="163"/>
                  <a:pt x="188" y="163"/>
                  <a:pt x="188" y="163"/>
                </a:cubicBezTo>
                <a:cubicBezTo>
                  <a:pt x="195" y="183"/>
                  <a:pt x="195" y="183"/>
                  <a:pt x="195" y="183"/>
                </a:cubicBezTo>
                <a:cubicBezTo>
                  <a:pt x="195" y="183"/>
                  <a:pt x="195" y="183"/>
                  <a:pt x="195" y="183"/>
                </a:cubicBezTo>
                <a:cubicBezTo>
                  <a:pt x="196" y="184"/>
                  <a:pt x="196" y="184"/>
                  <a:pt x="196" y="184"/>
                </a:cubicBezTo>
                <a:cubicBezTo>
                  <a:pt x="201" y="200"/>
                  <a:pt x="201" y="200"/>
                  <a:pt x="201" y="200"/>
                </a:cubicBezTo>
                <a:cubicBezTo>
                  <a:pt x="209" y="188"/>
                  <a:pt x="209" y="188"/>
                  <a:pt x="209" y="188"/>
                </a:cubicBezTo>
                <a:cubicBezTo>
                  <a:pt x="224" y="190"/>
                  <a:pt x="224" y="190"/>
                  <a:pt x="224" y="190"/>
                </a:cubicBezTo>
                <a:cubicBezTo>
                  <a:pt x="210" y="149"/>
                  <a:pt x="210" y="149"/>
                  <a:pt x="210" y="149"/>
                </a:cubicBezTo>
                <a:close/>
                <a:moveTo>
                  <a:pt x="181" y="103"/>
                </a:moveTo>
                <a:cubicBezTo>
                  <a:pt x="175" y="103"/>
                  <a:pt x="168" y="106"/>
                  <a:pt x="164" y="110"/>
                </a:cubicBezTo>
                <a:cubicBezTo>
                  <a:pt x="159" y="115"/>
                  <a:pt x="157" y="121"/>
                  <a:pt x="157" y="128"/>
                </a:cubicBezTo>
                <a:cubicBezTo>
                  <a:pt x="157" y="135"/>
                  <a:pt x="159" y="141"/>
                  <a:pt x="164" y="145"/>
                </a:cubicBezTo>
                <a:cubicBezTo>
                  <a:pt x="168" y="150"/>
                  <a:pt x="175" y="153"/>
                  <a:pt x="181" y="153"/>
                </a:cubicBezTo>
                <a:cubicBezTo>
                  <a:pt x="188" y="153"/>
                  <a:pt x="194" y="150"/>
                  <a:pt x="199" y="145"/>
                </a:cubicBezTo>
                <a:cubicBezTo>
                  <a:pt x="203" y="141"/>
                  <a:pt x="206" y="135"/>
                  <a:pt x="206" y="128"/>
                </a:cubicBezTo>
                <a:cubicBezTo>
                  <a:pt x="206" y="121"/>
                  <a:pt x="203" y="115"/>
                  <a:pt x="199" y="110"/>
                </a:cubicBezTo>
                <a:cubicBezTo>
                  <a:pt x="194" y="106"/>
                  <a:pt x="188" y="103"/>
                  <a:pt x="181" y="103"/>
                </a:cubicBezTo>
                <a:close/>
                <a:moveTo>
                  <a:pt x="198" y="111"/>
                </a:moveTo>
                <a:cubicBezTo>
                  <a:pt x="194" y="107"/>
                  <a:pt x="188" y="104"/>
                  <a:pt x="181" y="104"/>
                </a:cubicBezTo>
                <a:cubicBezTo>
                  <a:pt x="175" y="104"/>
                  <a:pt x="169" y="107"/>
                  <a:pt x="165" y="111"/>
                </a:cubicBezTo>
                <a:cubicBezTo>
                  <a:pt x="161" y="115"/>
                  <a:pt x="158" y="121"/>
                  <a:pt x="158" y="128"/>
                </a:cubicBezTo>
                <a:cubicBezTo>
                  <a:pt x="158" y="134"/>
                  <a:pt x="161" y="140"/>
                  <a:pt x="165" y="144"/>
                </a:cubicBezTo>
                <a:cubicBezTo>
                  <a:pt x="169" y="149"/>
                  <a:pt x="175" y="151"/>
                  <a:pt x="181" y="151"/>
                </a:cubicBezTo>
                <a:cubicBezTo>
                  <a:pt x="188" y="151"/>
                  <a:pt x="194" y="149"/>
                  <a:pt x="198" y="144"/>
                </a:cubicBezTo>
                <a:cubicBezTo>
                  <a:pt x="202" y="140"/>
                  <a:pt x="205" y="134"/>
                  <a:pt x="205" y="128"/>
                </a:cubicBezTo>
                <a:cubicBezTo>
                  <a:pt x="205" y="121"/>
                  <a:pt x="202" y="115"/>
                  <a:pt x="198" y="111"/>
                </a:cubicBezTo>
                <a:close/>
                <a:moveTo>
                  <a:pt x="23" y="23"/>
                </a:moveTo>
                <a:cubicBezTo>
                  <a:pt x="23" y="138"/>
                  <a:pt x="23" y="138"/>
                  <a:pt x="23" y="138"/>
                </a:cubicBezTo>
                <a:cubicBezTo>
                  <a:pt x="148" y="138"/>
                  <a:pt x="148" y="138"/>
                  <a:pt x="148" y="138"/>
                </a:cubicBezTo>
                <a:cubicBezTo>
                  <a:pt x="150" y="136"/>
                  <a:pt x="150" y="136"/>
                  <a:pt x="150" y="136"/>
                </a:cubicBezTo>
                <a:cubicBezTo>
                  <a:pt x="145" y="135"/>
                  <a:pt x="145" y="135"/>
                  <a:pt x="145" y="135"/>
                </a:cubicBezTo>
                <a:cubicBezTo>
                  <a:pt x="149" y="132"/>
                  <a:pt x="149" y="132"/>
                  <a:pt x="149" y="132"/>
                </a:cubicBezTo>
                <a:cubicBezTo>
                  <a:pt x="145" y="130"/>
                  <a:pt x="145" y="130"/>
                  <a:pt x="145" y="130"/>
                </a:cubicBezTo>
                <a:cubicBezTo>
                  <a:pt x="149" y="128"/>
                  <a:pt x="149" y="128"/>
                  <a:pt x="149" y="128"/>
                </a:cubicBezTo>
                <a:cubicBezTo>
                  <a:pt x="145" y="125"/>
                  <a:pt x="145" y="125"/>
                  <a:pt x="145" y="125"/>
                </a:cubicBezTo>
                <a:cubicBezTo>
                  <a:pt x="149" y="124"/>
                  <a:pt x="149" y="124"/>
                  <a:pt x="149" y="124"/>
                </a:cubicBezTo>
                <a:cubicBezTo>
                  <a:pt x="145" y="121"/>
                  <a:pt x="145" y="121"/>
                  <a:pt x="145" y="121"/>
                </a:cubicBezTo>
                <a:cubicBezTo>
                  <a:pt x="150" y="120"/>
                  <a:pt x="150" y="120"/>
                  <a:pt x="150" y="120"/>
                </a:cubicBezTo>
                <a:cubicBezTo>
                  <a:pt x="146" y="116"/>
                  <a:pt x="146" y="116"/>
                  <a:pt x="146" y="116"/>
                </a:cubicBezTo>
                <a:cubicBezTo>
                  <a:pt x="151" y="116"/>
                  <a:pt x="151" y="116"/>
                  <a:pt x="151" y="116"/>
                </a:cubicBezTo>
                <a:cubicBezTo>
                  <a:pt x="148" y="112"/>
                  <a:pt x="148" y="112"/>
                  <a:pt x="148" y="112"/>
                </a:cubicBezTo>
                <a:cubicBezTo>
                  <a:pt x="153" y="112"/>
                  <a:pt x="153" y="112"/>
                  <a:pt x="153" y="112"/>
                </a:cubicBezTo>
                <a:cubicBezTo>
                  <a:pt x="150" y="108"/>
                  <a:pt x="150" y="108"/>
                  <a:pt x="150" y="108"/>
                </a:cubicBezTo>
                <a:cubicBezTo>
                  <a:pt x="155" y="109"/>
                  <a:pt x="155" y="109"/>
                  <a:pt x="155" y="109"/>
                </a:cubicBezTo>
                <a:cubicBezTo>
                  <a:pt x="153" y="104"/>
                  <a:pt x="153" y="104"/>
                  <a:pt x="153" y="104"/>
                </a:cubicBezTo>
                <a:cubicBezTo>
                  <a:pt x="158" y="106"/>
                  <a:pt x="158" y="106"/>
                  <a:pt x="158" y="106"/>
                </a:cubicBezTo>
                <a:cubicBezTo>
                  <a:pt x="156" y="101"/>
                  <a:pt x="156" y="101"/>
                  <a:pt x="156" y="101"/>
                </a:cubicBezTo>
                <a:cubicBezTo>
                  <a:pt x="161" y="103"/>
                  <a:pt x="161" y="103"/>
                  <a:pt x="161" y="103"/>
                </a:cubicBezTo>
                <a:cubicBezTo>
                  <a:pt x="160" y="98"/>
                  <a:pt x="160" y="98"/>
                  <a:pt x="160" y="98"/>
                </a:cubicBezTo>
                <a:cubicBezTo>
                  <a:pt x="164" y="100"/>
                  <a:pt x="164" y="100"/>
                  <a:pt x="164" y="100"/>
                </a:cubicBezTo>
                <a:cubicBezTo>
                  <a:pt x="164" y="95"/>
                  <a:pt x="164" y="95"/>
                  <a:pt x="164" y="95"/>
                </a:cubicBezTo>
                <a:cubicBezTo>
                  <a:pt x="168" y="98"/>
                  <a:pt x="168" y="98"/>
                  <a:pt x="168" y="98"/>
                </a:cubicBezTo>
                <a:cubicBezTo>
                  <a:pt x="168" y="93"/>
                  <a:pt x="168" y="93"/>
                  <a:pt x="168" y="93"/>
                </a:cubicBezTo>
                <a:cubicBezTo>
                  <a:pt x="171" y="97"/>
                  <a:pt x="171" y="97"/>
                  <a:pt x="171" y="97"/>
                </a:cubicBezTo>
                <a:cubicBezTo>
                  <a:pt x="172" y="92"/>
                  <a:pt x="172" y="92"/>
                  <a:pt x="172" y="92"/>
                </a:cubicBezTo>
                <a:cubicBezTo>
                  <a:pt x="175" y="96"/>
                  <a:pt x="175" y="96"/>
                  <a:pt x="175" y="96"/>
                </a:cubicBezTo>
                <a:cubicBezTo>
                  <a:pt x="177" y="91"/>
                  <a:pt x="177" y="91"/>
                  <a:pt x="177" y="91"/>
                </a:cubicBezTo>
                <a:cubicBezTo>
                  <a:pt x="179" y="95"/>
                  <a:pt x="179" y="95"/>
                  <a:pt x="179" y="95"/>
                </a:cubicBezTo>
                <a:cubicBezTo>
                  <a:pt x="181" y="91"/>
                  <a:pt x="181" y="91"/>
                  <a:pt x="181" y="91"/>
                </a:cubicBezTo>
                <a:cubicBezTo>
                  <a:pt x="183" y="95"/>
                  <a:pt x="183" y="95"/>
                  <a:pt x="183" y="95"/>
                </a:cubicBezTo>
                <a:cubicBezTo>
                  <a:pt x="186" y="91"/>
                  <a:pt x="186" y="91"/>
                  <a:pt x="186" y="91"/>
                </a:cubicBezTo>
                <a:cubicBezTo>
                  <a:pt x="187" y="96"/>
                  <a:pt x="187" y="96"/>
                  <a:pt x="187" y="96"/>
                </a:cubicBezTo>
                <a:cubicBezTo>
                  <a:pt x="191" y="92"/>
                  <a:pt x="191" y="92"/>
                  <a:pt x="191" y="92"/>
                </a:cubicBezTo>
                <a:cubicBezTo>
                  <a:pt x="191" y="97"/>
                  <a:pt x="191" y="97"/>
                  <a:pt x="191" y="97"/>
                </a:cubicBezTo>
                <a:cubicBezTo>
                  <a:pt x="195" y="93"/>
                  <a:pt x="195" y="93"/>
                  <a:pt x="195" y="93"/>
                </a:cubicBezTo>
                <a:cubicBezTo>
                  <a:pt x="195" y="98"/>
                  <a:pt x="195" y="98"/>
                  <a:pt x="195" y="98"/>
                </a:cubicBezTo>
                <a:cubicBezTo>
                  <a:pt x="199" y="95"/>
                  <a:pt x="199" y="95"/>
                  <a:pt x="199" y="95"/>
                </a:cubicBezTo>
                <a:cubicBezTo>
                  <a:pt x="199" y="100"/>
                  <a:pt x="199" y="100"/>
                  <a:pt x="199" y="100"/>
                </a:cubicBezTo>
                <a:cubicBezTo>
                  <a:pt x="203" y="98"/>
                  <a:pt x="203" y="98"/>
                  <a:pt x="203" y="98"/>
                </a:cubicBezTo>
                <a:cubicBezTo>
                  <a:pt x="202" y="103"/>
                  <a:pt x="202" y="103"/>
                  <a:pt x="202" y="103"/>
                </a:cubicBezTo>
                <a:cubicBezTo>
                  <a:pt x="207" y="101"/>
                  <a:pt x="207" y="101"/>
                  <a:pt x="207" y="101"/>
                </a:cubicBezTo>
                <a:cubicBezTo>
                  <a:pt x="205" y="106"/>
                  <a:pt x="205" y="106"/>
                  <a:pt x="205" y="106"/>
                </a:cubicBezTo>
                <a:cubicBezTo>
                  <a:pt x="207" y="105"/>
                  <a:pt x="207" y="105"/>
                  <a:pt x="207" y="105"/>
                </a:cubicBezTo>
                <a:cubicBezTo>
                  <a:pt x="207" y="23"/>
                  <a:pt x="207" y="23"/>
                  <a:pt x="207" y="23"/>
                </a:cubicBezTo>
                <a:cubicBezTo>
                  <a:pt x="23" y="23"/>
                  <a:pt x="23" y="23"/>
                  <a:pt x="23" y="23"/>
                </a:cubicBezTo>
                <a:close/>
                <a:moveTo>
                  <a:pt x="34" y="126"/>
                </a:moveTo>
                <a:cubicBezTo>
                  <a:pt x="34" y="130"/>
                  <a:pt x="34" y="130"/>
                  <a:pt x="34" y="130"/>
                </a:cubicBezTo>
                <a:cubicBezTo>
                  <a:pt x="69" y="130"/>
                  <a:pt x="69" y="130"/>
                  <a:pt x="69" y="130"/>
                </a:cubicBezTo>
                <a:cubicBezTo>
                  <a:pt x="69" y="126"/>
                  <a:pt x="69" y="126"/>
                  <a:pt x="69" y="126"/>
                </a:cubicBezTo>
                <a:cubicBezTo>
                  <a:pt x="34" y="126"/>
                  <a:pt x="34" y="126"/>
                  <a:pt x="34" y="126"/>
                </a:cubicBezTo>
                <a:close/>
                <a:moveTo>
                  <a:pt x="90" y="126"/>
                </a:moveTo>
                <a:cubicBezTo>
                  <a:pt x="90" y="130"/>
                  <a:pt x="90" y="130"/>
                  <a:pt x="90" y="130"/>
                </a:cubicBezTo>
                <a:cubicBezTo>
                  <a:pt x="125" y="130"/>
                  <a:pt x="125" y="130"/>
                  <a:pt x="125" y="130"/>
                </a:cubicBezTo>
                <a:cubicBezTo>
                  <a:pt x="125" y="126"/>
                  <a:pt x="125" y="126"/>
                  <a:pt x="125" y="126"/>
                </a:cubicBezTo>
                <a:cubicBezTo>
                  <a:pt x="90" y="126"/>
                  <a:pt x="90" y="126"/>
                  <a:pt x="90" y="126"/>
                </a:cubicBezTo>
                <a:close/>
                <a:moveTo>
                  <a:pt x="45" y="55"/>
                </a:moveTo>
                <a:cubicBezTo>
                  <a:pt x="45" y="58"/>
                  <a:pt x="45" y="58"/>
                  <a:pt x="45" y="58"/>
                </a:cubicBezTo>
                <a:cubicBezTo>
                  <a:pt x="185" y="58"/>
                  <a:pt x="185" y="58"/>
                  <a:pt x="185" y="58"/>
                </a:cubicBezTo>
                <a:cubicBezTo>
                  <a:pt x="185" y="55"/>
                  <a:pt x="185" y="55"/>
                  <a:pt x="185" y="55"/>
                </a:cubicBezTo>
                <a:cubicBezTo>
                  <a:pt x="45" y="55"/>
                  <a:pt x="45" y="55"/>
                  <a:pt x="45" y="55"/>
                </a:cubicBezTo>
                <a:close/>
                <a:moveTo>
                  <a:pt x="45" y="44"/>
                </a:moveTo>
                <a:cubicBezTo>
                  <a:pt x="45" y="48"/>
                  <a:pt x="45" y="48"/>
                  <a:pt x="45" y="48"/>
                </a:cubicBezTo>
                <a:cubicBezTo>
                  <a:pt x="185" y="48"/>
                  <a:pt x="185" y="48"/>
                  <a:pt x="185" y="48"/>
                </a:cubicBezTo>
                <a:cubicBezTo>
                  <a:pt x="185" y="44"/>
                  <a:pt x="185" y="44"/>
                  <a:pt x="185" y="44"/>
                </a:cubicBezTo>
                <a:cubicBezTo>
                  <a:pt x="45" y="44"/>
                  <a:pt x="45" y="44"/>
                  <a:pt x="45" y="44"/>
                </a:cubicBezTo>
                <a:close/>
                <a:moveTo>
                  <a:pt x="45" y="64"/>
                </a:moveTo>
                <a:cubicBezTo>
                  <a:pt x="45" y="68"/>
                  <a:pt x="45" y="68"/>
                  <a:pt x="45" y="68"/>
                </a:cubicBezTo>
                <a:cubicBezTo>
                  <a:pt x="185" y="68"/>
                  <a:pt x="185" y="68"/>
                  <a:pt x="185" y="68"/>
                </a:cubicBezTo>
                <a:cubicBezTo>
                  <a:pt x="185" y="64"/>
                  <a:pt x="185" y="64"/>
                  <a:pt x="185" y="64"/>
                </a:cubicBezTo>
                <a:cubicBezTo>
                  <a:pt x="45" y="64"/>
                  <a:pt x="45" y="64"/>
                  <a:pt x="45" y="64"/>
                </a:cubicBezTo>
                <a:close/>
                <a:moveTo>
                  <a:pt x="45" y="84"/>
                </a:moveTo>
                <a:cubicBezTo>
                  <a:pt x="45" y="88"/>
                  <a:pt x="45" y="88"/>
                  <a:pt x="45" y="88"/>
                </a:cubicBezTo>
                <a:cubicBezTo>
                  <a:pt x="156" y="88"/>
                  <a:pt x="156" y="88"/>
                  <a:pt x="156" y="88"/>
                </a:cubicBezTo>
                <a:cubicBezTo>
                  <a:pt x="156" y="84"/>
                  <a:pt x="156" y="84"/>
                  <a:pt x="156" y="84"/>
                </a:cubicBezTo>
                <a:cubicBezTo>
                  <a:pt x="45" y="84"/>
                  <a:pt x="45" y="84"/>
                  <a:pt x="45" y="84"/>
                </a:cubicBezTo>
                <a:close/>
                <a:moveTo>
                  <a:pt x="45" y="74"/>
                </a:moveTo>
                <a:cubicBezTo>
                  <a:pt x="45" y="78"/>
                  <a:pt x="45" y="78"/>
                  <a:pt x="45" y="78"/>
                </a:cubicBezTo>
                <a:cubicBezTo>
                  <a:pt x="156" y="78"/>
                  <a:pt x="156" y="78"/>
                  <a:pt x="156" y="78"/>
                </a:cubicBezTo>
                <a:cubicBezTo>
                  <a:pt x="156" y="74"/>
                  <a:pt x="156" y="74"/>
                  <a:pt x="156" y="74"/>
                </a:cubicBezTo>
                <a:lnTo>
                  <a:pt x="45" y="74"/>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 name="Freeform 5"/>
          <p:cNvSpPr>
            <a:spLocks noEditPoints="1" noChangeArrowheads="1"/>
          </p:cNvSpPr>
          <p:nvPr/>
        </p:nvSpPr>
        <p:spPr bwMode="auto">
          <a:xfrm>
            <a:off x="2578100" y="2182813"/>
            <a:ext cx="482600" cy="388937"/>
          </a:xfrm>
          <a:custGeom>
            <a:avLst/>
            <a:gdLst>
              <a:gd name="T0" fmla="*/ 17 w 71"/>
              <a:gd name="T1" fmla="*/ 2 h 57"/>
              <a:gd name="T2" fmla="*/ 49 w 71"/>
              <a:gd name="T3" fmla="*/ 2 h 57"/>
              <a:gd name="T4" fmla="*/ 66 w 71"/>
              <a:gd name="T5" fmla="*/ 5 h 57"/>
              <a:gd name="T6" fmla="*/ 61 w 71"/>
              <a:gd name="T7" fmla="*/ 21 h 57"/>
              <a:gd name="T8" fmla="*/ 48 w 71"/>
              <a:gd name="T9" fmla="*/ 6 h 57"/>
              <a:gd name="T10" fmla="*/ 35 w 71"/>
              <a:gd name="T11" fmla="*/ 44 h 57"/>
              <a:gd name="T12" fmla="*/ 40 w 71"/>
              <a:gd name="T13" fmla="*/ 47 h 57"/>
              <a:gd name="T14" fmla="*/ 41 w 71"/>
              <a:gd name="T15" fmla="*/ 48 h 57"/>
              <a:gd name="T16" fmla="*/ 33 w 71"/>
              <a:gd name="T17" fmla="*/ 49 h 57"/>
              <a:gd name="T18" fmla="*/ 18 w 71"/>
              <a:gd name="T19" fmla="*/ 49 h 57"/>
              <a:gd name="T20" fmla="*/ 0 w 71"/>
              <a:gd name="T21" fmla="*/ 47 h 57"/>
              <a:gd name="T22" fmla="*/ 2 w 71"/>
              <a:gd name="T23" fmla="*/ 2 h 57"/>
              <a:gd name="T24" fmla="*/ 49 w 71"/>
              <a:gd name="T25" fmla="*/ 30 h 57"/>
              <a:gd name="T26" fmla="*/ 47 w 71"/>
              <a:gd name="T27" fmla="*/ 42 h 57"/>
              <a:gd name="T28" fmla="*/ 59 w 71"/>
              <a:gd name="T29" fmla="*/ 43 h 57"/>
              <a:gd name="T30" fmla="*/ 60 w 71"/>
              <a:gd name="T31" fmla="*/ 31 h 57"/>
              <a:gd name="T32" fmla="*/ 46 w 71"/>
              <a:gd name="T33" fmla="*/ 27 h 57"/>
              <a:gd name="T34" fmla="*/ 44 w 71"/>
              <a:gd name="T35" fmla="*/ 44 h 57"/>
              <a:gd name="T36" fmla="*/ 60 w 71"/>
              <a:gd name="T37" fmla="*/ 48 h 57"/>
              <a:gd name="T38" fmla="*/ 65 w 71"/>
              <a:gd name="T39" fmla="*/ 55 h 57"/>
              <a:gd name="T40" fmla="*/ 69 w 71"/>
              <a:gd name="T41" fmla="*/ 56 h 57"/>
              <a:gd name="T42" fmla="*/ 65 w 71"/>
              <a:gd name="T43" fmla="*/ 46 h 57"/>
              <a:gd name="T44" fmla="*/ 66 w 71"/>
              <a:gd name="T45" fmla="*/ 38 h 57"/>
              <a:gd name="T46" fmla="*/ 55 w 71"/>
              <a:gd name="T47" fmla="*/ 24 h 57"/>
              <a:gd name="T48" fmla="*/ 48 w 71"/>
              <a:gd name="T49" fmla="*/ 37 h 57"/>
              <a:gd name="T50" fmla="*/ 48 w 71"/>
              <a:gd name="T51" fmla="*/ 37 h 57"/>
              <a:gd name="T52" fmla="*/ 38 w 71"/>
              <a:gd name="T53" fmla="*/ 15 h 57"/>
              <a:gd name="T54" fmla="*/ 58 w 71"/>
              <a:gd name="T55" fmla="*/ 19 h 57"/>
              <a:gd name="T56" fmla="*/ 58 w 71"/>
              <a:gd name="T57" fmla="*/ 12 h 57"/>
              <a:gd name="T58" fmla="*/ 38 w 71"/>
              <a:gd name="T59" fmla="*/ 12 h 57"/>
              <a:gd name="T60" fmla="*/ 58 w 71"/>
              <a:gd name="T61" fmla="*/ 12 h 57"/>
              <a:gd name="T62" fmla="*/ 8 w 71"/>
              <a:gd name="T63" fmla="*/ 41 h 57"/>
              <a:gd name="T64" fmla="*/ 28 w 71"/>
              <a:gd name="T65" fmla="*/ 38 h 57"/>
              <a:gd name="T66" fmla="*/ 8 w 71"/>
              <a:gd name="T67" fmla="*/ 34 h 57"/>
              <a:gd name="T68" fmla="*/ 28 w 71"/>
              <a:gd name="T69" fmla="*/ 33 h 57"/>
              <a:gd name="T70" fmla="*/ 8 w 71"/>
              <a:gd name="T71" fmla="*/ 34 h 57"/>
              <a:gd name="T72" fmla="*/ 8 w 71"/>
              <a:gd name="T73" fmla="*/ 30 h 57"/>
              <a:gd name="T74" fmla="*/ 28 w 71"/>
              <a:gd name="T75" fmla="*/ 26 h 57"/>
              <a:gd name="T76" fmla="*/ 18 w 71"/>
              <a:gd name="T77" fmla="*/ 21 h 57"/>
              <a:gd name="T78" fmla="*/ 28 w 71"/>
              <a:gd name="T79" fmla="*/ 22 h 57"/>
              <a:gd name="T80" fmla="*/ 18 w 71"/>
              <a:gd name="T81" fmla="*/ 21 h 57"/>
              <a:gd name="T82" fmla="*/ 18 w 71"/>
              <a:gd name="T83" fmla="*/ 17 h 57"/>
              <a:gd name="T84" fmla="*/ 28 w 71"/>
              <a:gd name="T85" fmla="*/ 15 h 57"/>
              <a:gd name="T86" fmla="*/ 18 w 71"/>
              <a:gd name="T87" fmla="*/ 11 h 57"/>
              <a:gd name="T88" fmla="*/ 28 w 71"/>
              <a:gd name="T89" fmla="*/ 12 h 57"/>
              <a:gd name="T90" fmla="*/ 18 w 71"/>
              <a:gd name="T91" fmla="*/ 11 h 57"/>
              <a:gd name="T92" fmla="*/ 8 w 71"/>
              <a:gd name="T93" fmla="*/ 25 h 57"/>
              <a:gd name="T94" fmla="*/ 16 w 71"/>
              <a:gd name="T95" fmla="*/ 11 h 57"/>
              <a:gd name="T96" fmla="*/ 17 w 71"/>
              <a:gd name="T97" fmla="*/ 6 h 57"/>
              <a:gd name="T98" fmla="*/ 4 w 71"/>
              <a:gd name="T99" fmla="*/ 45 h 57"/>
              <a:gd name="T100" fmla="*/ 30 w 71"/>
              <a:gd name="T101" fmla="*/ 44 h 57"/>
              <a:gd name="T102" fmla="*/ 17 w 71"/>
              <a:gd name="T103"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1" h="57">
                <a:moveTo>
                  <a:pt x="2" y="2"/>
                </a:moveTo>
                <a:cubicBezTo>
                  <a:pt x="7" y="3"/>
                  <a:pt x="12" y="2"/>
                  <a:pt x="17" y="2"/>
                </a:cubicBezTo>
                <a:cubicBezTo>
                  <a:pt x="23" y="1"/>
                  <a:pt x="29" y="0"/>
                  <a:pt x="33" y="2"/>
                </a:cubicBezTo>
                <a:cubicBezTo>
                  <a:pt x="37" y="0"/>
                  <a:pt x="43" y="1"/>
                  <a:pt x="49" y="2"/>
                </a:cubicBezTo>
                <a:cubicBezTo>
                  <a:pt x="54" y="2"/>
                  <a:pt x="59" y="3"/>
                  <a:pt x="63" y="2"/>
                </a:cubicBezTo>
                <a:cubicBezTo>
                  <a:pt x="66" y="5"/>
                  <a:pt x="66" y="5"/>
                  <a:pt x="66" y="5"/>
                </a:cubicBezTo>
                <a:cubicBezTo>
                  <a:pt x="66" y="24"/>
                  <a:pt x="66" y="24"/>
                  <a:pt x="66" y="24"/>
                </a:cubicBezTo>
                <a:cubicBezTo>
                  <a:pt x="64" y="23"/>
                  <a:pt x="63" y="22"/>
                  <a:pt x="61" y="21"/>
                </a:cubicBezTo>
                <a:cubicBezTo>
                  <a:pt x="61" y="7"/>
                  <a:pt x="61" y="7"/>
                  <a:pt x="61" y="7"/>
                </a:cubicBezTo>
                <a:cubicBezTo>
                  <a:pt x="57" y="7"/>
                  <a:pt x="52" y="7"/>
                  <a:pt x="48" y="6"/>
                </a:cubicBezTo>
                <a:cubicBezTo>
                  <a:pt x="43" y="6"/>
                  <a:pt x="38" y="5"/>
                  <a:pt x="35" y="6"/>
                </a:cubicBezTo>
                <a:cubicBezTo>
                  <a:pt x="35" y="44"/>
                  <a:pt x="35" y="44"/>
                  <a:pt x="35" y="44"/>
                </a:cubicBezTo>
                <a:cubicBezTo>
                  <a:pt x="36" y="44"/>
                  <a:pt x="37" y="44"/>
                  <a:pt x="38" y="44"/>
                </a:cubicBezTo>
                <a:cubicBezTo>
                  <a:pt x="39" y="45"/>
                  <a:pt x="40" y="46"/>
                  <a:pt x="40" y="47"/>
                </a:cubicBezTo>
                <a:cubicBezTo>
                  <a:pt x="41" y="48"/>
                  <a:pt x="41" y="48"/>
                  <a:pt x="42" y="48"/>
                </a:cubicBezTo>
                <a:cubicBezTo>
                  <a:pt x="41" y="48"/>
                  <a:pt x="41" y="48"/>
                  <a:pt x="41" y="48"/>
                </a:cubicBezTo>
                <a:cubicBezTo>
                  <a:pt x="38" y="48"/>
                  <a:pt x="35" y="48"/>
                  <a:pt x="34" y="49"/>
                </a:cubicBezTo>
                <a:cubicBezTo>
                  <a:pt x="33" y="49"/>
                  <a:pt x="33" y="49"/>
                  <a:pt x="33" y="49"/>
                </a:cubicBezTo>
                <a:cubicBezTo>
                  <a:pt x="31" y="49"/>
                  <a:pt x="31" y="49"/>
                  <a:pt x="31" y="49"/>
                </a:cubicBezTo>
                <a:cubicBezTo>
                  <a:pt x="29" y="48"/>
                  <a:pt x="24" y="48"/>
                  <a:pt x="18" y="49"/>
                </a:cubicBezTo>
                <a:cubicBezTo>
                  <a:pt x="13" y="50"/>
                  <a:pt x="7" y="50"/>
                  <a:pt x="2" y="50"/>
                </a:cubicBezTo>
                <a:cubicBezTo>
                  <a:pt x="0" y="47"/>
                  <a:pt x="0" y="47"/>
                  <a:pt x="0" y="47"/>
                </a:cubicBezTo>
                <a:cubicBezTo>
                  <a:pt x="0" y="5"/>
                  <a:pt x="0" y="5"/>
                  <a:pt x="0" y="5"/>
                </a:cubicBezTo>
                <a:cubicBezTo>
                  <a:pt x="2" y="2"/>
                  <a:pt x="2" y="2"/>
                  <a:pt x="2" y="2"/>
                </a:cubicBezTo>
                <a:close/>
                <a:moveTo>
                  <a:pt x="55" y="28"/>
                </a:moveTo>
                <a:cubicBezTo>
                  <a:pt x="53" y="28"/>
                  <a:pt x="50" y="28"/>
                  <a:pt x="49" y="30"/>
                </a:cubicBezTo>
                <a:cubicBezTo>
                  <a:pt x="47" y="31"/>
                  <a:pt x="46" y="33"/>
                  <a:pt x="45" y="36"/>
                </a:cubicBezTo>
                <a:cubicBezTo>
                  <a:pt x="45" y="38"/>
                  <a:pt x="46" y="40"/>
                  <a:pt x="47" y="42"/>
                </a:cubicBezTo>
                <a:cubicBezTo>
                  <a:pt x="49" y="44"/>
                  <a:pt x="51" y="45"/>
                  <a:pt x="53" y="45"/>
                </a:cubicBezTo>
                <a:cubicBezTo>
                  <a:pt x="55" y="45"/>
                  <a:pt x="57" y="45"/>
                  <a:pt x="59" y="43"/>
                </a:cubicBezTo>
                <a:cubicBezTo>
                  <a:pt x="61" y="42"/>
                  <a:pt x="62" y="40"/>
                  <a:pt x="62" y="38"/>
                </a:cubicBezTo>
                <a:cubicBezTo>
                  <a:pt x="62" y="35"/>
                  <a:pt x="62" y="33"/>
                  <a:pt x="60" y="31"/>
                </a:cubicBezTo>
                <a:cubicBezTo>
                  <a:pt x="59" y="30"/>
                  <a:pt x="57" y="28"/>
                  <a:pt x="55" y="28"/>
                </a:cubicBezTo>
                <a:close/>
                <a:moveTo>
                  <a:pt x="46" y="27"/>
                </a:moveTo>
                <a:cubicBezTo>
                  <a:pt x="43" y="29"/>
                  <a:pt x="41" y="32"/>
                  <a:pt x="41" y="35"/>
                </a:cubicBezTo>
                <a:cubicBezTo>
                  <a:pt x="41" y="38"/>
                  <a:pt x="42" y="42"/>
                  <a:pt x="44" y="44"/>
                </a:cubicBezTo>
                <a:cubicBezTo>
                  <a:pt x="46" y="47"/>
                  <a:pt x="49" y="49"/>
                  <a:pt x="52" y="49"/>
                </a:cubicBezTo>
                <a:cubicBezTo>
                  <a:pt x="55" y="50"/>
                  <a:pt x="57" y="49"/>
                  <a:pt x="60" y="48"/>
                </a:cubicBezTo>
                <a:cubicBezTo>
                  <a:pt x="60" y="49"/>
                  <a:pt x="60" y="49"/>
                  <a:pt x="61" y="50"/>
                </a:cubicBezTo>
                <a:cubicBezTo>
                  <a:pt x="65" y="55"/>
                  <a:pt x="65" y="55"/>
                  <a:pt x="65" y="55"/>
                </a:cubicBezTo>
                <a:cubicBezTo>
                  <a:pt x="66" y="57"/>
                  <a:pt x="68" y="57"/>
                  <a:pt x="69" y="56"/>
                </a:cubicBezTo>
                <a:cubicBezTo>
                  <a:pt x="69" y="56"/>
                  <a:pt x="69" y="56"/>
                  <a:pt x="69" y="56"/>
                </a:cubicBezTo>
                <a:cubicBezTo>
                  <a:pt x="70" y="55"/>
                  <a:pt x="71" y="53"/>
                  <a:pt x="70" y="52"/>
                </a:cubicBezTo>
                <a:cubicBezTo>
                  <a:pt x="65" y="46"/>
                  <a:pt x="65" y="46"/>
                  <a:pt x="65" y="46"/>
                </a:cubicBezTo>
                <a:cubicBezTo>
                  <a:pt x="65" y="46"/>
                  <a:pt x="64" y="45"/>
                  <a:pt x="63" y="45"/>
                </a:cubicBezTo>
                <a:cubicBezTo>
                  <a:pt x="65" y="43"/>
                  <a:pt x="66" y="41"/>
                  <a:pt x="66" y="38"/>
                </a:cubicBezTo>
                <a:cubicBezTo>
                  <a:pt x="67" y="35"/>
                  <a:pt x="66" y="32"/>
                  <a:pt x="64" y="29"/>
                </a:cubicBezTo>
                <a:cubicBezTo>
                  <a:pt x="62" y="26"/>
                  <a:pt x="59" y="24"/>
                  <a:pt x="55" y="24"/>
                </a:cubicBezTo>
                <a:cubicBezTo>
                  <a:pt x="52" y="24"/>
                  <a:pt x="49" y="24"/>
                  <a:pt x="46" y="27"/>
                </a:cubicBezTo>
                <a:close/>
                <a:moveTo>
                  <a:pt x="48" y="37"/>
                </a:moveTo>
                <a:cubicBezTo>
                  <a:pt x="49" y="34"/>
                  <a:pt x="53" y="32"/>
                  <a:pt x="57" y="31"/>
                </a:cubicBezTo>
                <a:cubicBezTo>
                  <a:pt x="53" y="28"/>
                  <a:pt x="47" y="32"/>
                  <a:pt x="48" y="37"/>
                </a:cubicBezTo>
                <a:close/>
                <a:moveTo>
                  <a:pt x="58" y="17"/>
                </a:moveTo>
                <a:cubicBezTo>
                  <a:pt x="54" y="17"/>
                  <a:pt x="42" y="15"/>
                  <a:pt x="38" y="15"/>
                </a:cubicBezTo>
                <a:cubicBezTo>
                  <a:pt x="38" y="16"/>
                  <a:pt x="38" y="17"/>
                  <a:pt x="38" y="17"/>
                </a:cubicBezTo>
                <a:cubicBezTo>
                  <a:pt x="42" y="17"/>
                  <a:pt x="55" y="19"/>
                  <a:pt x="58" y="19"/>
                </a:cubicBezTo>
                <a:cubicBezTo>
                  <a:pt x="58" y="19"/>
                  <a:pt x="58" y="18"/>
                  <a:pt x="58" y="17"/>
                </a:cubicBezTo>
                <a:close/>
                <a:moveTo>
                  <a:pt x="58" y="12"/>
                </a:moveTo>
                <a:cubicBezTo>
                  <a:pt x="54" y="12"/>
                  <a:pt x="42" y="10"/>
                  <a:pt x="38" y="10"/>
                </a:cubicBezTo>
                <a:cubicBezTo>
                  <a:pt x="38" y="11"/>
                  <a:pt x="38" y="11"/>
                  <a:pt x="38" y="12"/>
                </a:cubicBezTo>
                <a:cubicBezTo>
                  <a:pt x="42" y="12"/>
                  <a:pt x="55" y="14"/>
                  <a:pt x="58" y="14"/>
                </a:cubicBezTo>
                <a:cubicBezTo>
                  <a:pt x="58" y="13"/>
                  <a:pt x="58" y="12"/>
                  <a:pt x="58" y="12"/>
                </a:cubicBezTo>
                <a:close/>
                <a:moveTo>
                  <a:pt x="8" y="40"/>
                </a:moveTo>
                <a:cubicBezTo>
                  <a:pt x="8" y="40"/>
                  <a:pt x="8" y="41"/>
                  <a:pt x="8" y="41"/>
                </a:cubicBezTo>
                <a:cubicBezTo>
                  <a:pt x="12" y="42"/>
                  <a:pt x="24" y="39"/>
                  <a:pt x="28" y="39"/>
                </a:cubicBezTo>
                <a:cubicBezTo>
                  <a:pt x="28" y="39"/>
                  <a:pt x="28" y="38"/>
                  <a:pt x="28" y="38"/>
                </a:cubicBezTo>
                <a:cubicBezTo>
                  <a:pt x="25" y="37"/>
                  <a:pt x="13" y="40"/>
                  <a:pt x="8" y="40"/>
                </a:cubicBezTo>
                <a:close/>
                <a:moveTo>
                  <a:pt x="8" y="34"/>
                </a:moveTo>
                <a:cubicBezTo>
                  <a:pt x="8" y="34"/>
                  <a:pt x="8" y="35"/>
                  <a:pt x="8" y="35"/>
                </a:cubicBezTo>
                <a:cubicBezTo>
                  <a:pt x="12" y="36"/>
                  <a:pt x="24" y="33"/>
                  <a:pt x="28" y="33"/>
                </a:cubicBezTo>
                <a:cubicBezTo>
                  <a:pt x="28" y="33"/>
                  <a:pt x="28" y="32"/>
                  <a:pt x="28" y="32"/>
                </a:cubicBezTo>
                <a:cubicBezTo>
                  <a:pt x="25" y="31"/>
                  <a:pt x="13" y="34"/>
                  <a:pt x="8" y="34"/>
                </a:cubicBezTo>
                <a:close/>
                <a:moveTo>
                  <a:pt x="8" y="28"/>
                </a:moveTo>
                <a:cubicBezTo>
                  <a:pt x="8" y="29"/>
                  <a:pt x="8" y="29"/>
                  <a:pt x="8" y="30"/>
                </a:cubicBezTo>
                <a:cubicBezTo>
                  <a:pt x="12" y="30"/>
                  <a:pt x="24" y="28"/>
                  <a:pt x="28" y="28"/>
                </a:cubicBezTo>
                <a:cubicBezTo>
                  <a:pt x="28" y="27"/>
                  <a:pt x="28" y="27"/>
                  <a:pt x="28" y="26"/>
                </a:cubicBezTo>
                <a:cubicBezTo>
                  <a:pt x="25" y="26"/>
                  <a:pt x="13" y="28"/>
                  <a:pt x="8" y="28"/>
                </a:cubicBezTo>
                <a:close/>
                <a:moveTo>
                  <a:pt x="18" y="21"/>
                </a:moveTo>
                <a:cubicBezTo>
                  <a:pt x="18" y="21"/>
                  <a:pt x="18" y="22"/>
                  <a:pt x="18" y="22"/>
                </a:cubicBezTo>
                <a:cubicBezTo>
                  <a:pt x="20" y="22"/>
                  <a:pt x="24" y="21"/>
                  <a:pt x="28" y="22"/>
                </a:cubicBezTo>
                <a:cubicBezTo>
                  <a:pt x="28" y="21"/>
                  <a:pt x="28" y="20"/>
                  <a:pt x="28" y="20"/>
                </a:cubicBezTo>
                <a:cubicBezTo>
                  <a:pt x="25" y="20"/>
                  <a:pt x="21" y="20"/>
                  <a:pt x="18" y="21"/>
                </a:cubicBezTo>
                <a:close/>
                <a:moveTo>
                  <a:pt x="18" y="16"/>
                </a:moveTo>
                <a:cubicBezTo>
                  <a:pt x="18" y="16"/>
                  <a:pt x="18" y="17"/>
                  <a:pt x="18" y="17"/>
                </a:cubicBezTo>
                <a:cubicBezTo>
                  <a:pt x="20" y="17"/>
                  <a:pt x="24" y="16"/>
                  <a:pt x="28" y="16"/>
                </a:cubicBezTo>
                <a:cubicBezTo>
                  <a:pt x="28" y="16"/>
                  <a:pt x="28" y="15"/>
                  <a:pt x="28" y="15"/>
                </a:cubicBezTo>
                <a:cubicBezTo>
                  <a:pt x="25" y="14"/>
                  <a:pt x="21" y="15"/>
                  <a:pt x="18" y="16"/>
                </a:cubicBezTo>
                <a:close/>
                <a:moveTo>
                  <a:pt x="18" y="11"/>
                </a:moveTo>
                <a:cubicBezTo>
                  <a:pt x="18" y="12"/>
                  <a:pt x="18" y="13"/>
                  <a:pt x="18" y="13"/>
                </a:cubicBezTo>
                <a:cubicBezTo>
                  <a:pt x="20" y="13"/>
                  <a:pt x="24" y="12"/>
                  <a:pt x="28" y="12"/>
                </a:cubicBezTo>
                <a:cubicBezTo>
                  <a:pt x="28" y="12"/>
                  <a:pt x="28" y="11"/>
                  <a:pt x="28" y="10"/>
                </a:cubicBezTo>
                <a:cubicBezTo>
                  <a:pt x="25" y="10"/>
                  <a:pt x="21" y="11"/>
                  <a:pt x="18" y="11"/>
                </a:cubicBezTo>
                <a:close/>
                <a:moveTo>
                  <a:pt x="8" y="11"/>
                </a:moveTo>
                <a:cubicBezTo>
                  <a:pt x="8" y="25"/>
                  <a:pt x="8" y="25"/>
                  <a:pt x="8" y="25"/>
                </a:cubicBezTo>
                <a:cubicBezTo>
                  <a:pt x="16" y="24"/>
                  <a:pt x="16" y="24"/>
                  <a:pt x="16" y="24"/>
                </a:cubicBezTo>
                <a:cubicBezTo>
                  <a:pt x="16" y="11"/>
                  <a:pt x="16" y="11"/>
                  <a:pt x="16" y="11"/>
                </a:cubicBezTo>
                <a:cubicBezTo>
                  <a:pt x="8" y="11"/>
                  <a:pt x="8" y="11"/>
                  <a:pt x="8" y="11"/>
                </a:cubicBezTo>
                <a:close/>
                <a:moveTo>
                  <a:pt x="17" y="6"/>
                </a:moveTo>
                <a:cubicBezTo>
                  <a:pt x="13" y="7"/>
                  <a:pt x="9" y="7"/>
                  <a:pt x="4" y="7"/>
                </a:cubicBezTo>
                <a:cubicBezTo>
                  <a:pt x="4" y="45"/>
                  <a:pt x="4" y="45"/>
                  <a:pt x="4" y="45"/>
                </a:cubicBezTo>
                <a:cubicBezTo>
                  <a:pt x="9" y="45"/>
                  <a:pt x="13" y="45"/>
                  <a:pt x="17" y="44"/>
                </a:cubicBezTo>
                <a:cubicBezTo>
                  <a:pt x="22" y="44"/>
                  <a:pt x="27" y="43"/>
                  <a:pt x="30" y="44"/>
                </a:cubicBezTo>
                <a:cubicBezTo>
                  <a:pt x="30" y="6"/>
                  <a:pt x="30" y="6"/>
                  <a:pt x="30" y="6"/>
                </a:cubicBezTo>
                <a:cubicBezTo>
                  <a:pt x="28" y="5"/>
                  <a:pt x="23" y="6"/>
                  <a:pt x="17" y="6"/>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5" name="矩形 54"/>
          <p:cNvSpPr>
            <a:spLocks noChangeArrowheads="1"/>
          </p:cNvSpPr>
          <p:nvPr/>
        </p:nvSpPr>
        <p:spPr bwMode="auto">
          <a:xfrm>
            <a:off x="1695450" y="3597275"/>
            <a:ext cx="2247900" cy="1245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125000"/>
              </a:lnSpc>
            </a:pPr>
            <a:r>
              <a:rPr lang="zh-CN" altLang="en-US" sz="2000" dirty="0">
                <a:solidFill>
                  <a:schemeClr val="bg1"/>
                </a:solidFill>
                <a:latin typeface="Calibri" panose="020F0502020204030204" pitchFamily="34" charset="0"/>
                <a:cs typeface="Calibri" panose="020F0502020204030204" pitchFamily="34" charset="0"/>
              </a:rPr>
              <a:t>Country in which production sites are located</a:t>
            </a:r>
          </a:p>
        </p:txBody>
      </p:sp>
      <p:sp>
        <p:nvSpPr>
          <p:cNvPr id="2" name="矩形 1"/>
          <p:cNvSpPr>
            <a:spLocks noChangeArrowheads="1"/>
          </p:cNvSpPr>
          <p:nvPr/>
        </p:nvSpPr>
        <p:spPr bwMode="auto">
          <a:xfrm>
            <a:off x="1963738" y="2687638"/>
            <a:ext cx="1711325" cy="70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2000" b="1" dirty="0">
                <a:solidFill>
                  <a:schemeClr val="bg1"/>
                </a:solidFill>
                <a:latin typeface="Calibri" panose="020F0502020204030204" pitchFamily="34" charset="0"/>
                <a:cs typeface="Calibri" panose="020F0502020204030204" pitchFamily="34" charset="0"/>
              </a:rPr>
              <a:t>Country Located</a:t>
            </a:r>
          </a:p>
        </p:txBody>
      </p:sp>
      <p:sp>
        <p:nvSpPr>
          <p:cNvPr id="21" name="矩形 20"/>
          <p:cNvSpPr>
            <a:spLocks noChangeArrowheads="1"/>
          </p:cNvSpPr>
          <p:nvPr/>
        </p:nvSpPr>
        <p:spPr bwMode="auto">
          <a:xfrm>
            <a:off x="4970463" y="3597275"/>
            <a:ext cx="2247900"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125000"/>
              </a:lnSpc>
            </a:pPr>
            <a:r>
              <a:rPr lang="zh-CN" altLang="en-US" sz="2000" dirty="0">
                <a:solidFill>
                  <a:schemeClr val="bg1"/>
                </a:solidFill>
                <a:latin typeface="Calibri" panose="020F0502020204030204" pitchFamily="34" charset="0"/>
                <a:cs typeface="Calibri" panose="020F0502020204030204" pitchFamily="34" charset="0"/>
              </a:rPr>
              <a:t>Compan</a:t>
            </a:r>
            <a:r>
              <a:rPr lang="en-US" altLang="zh-CN" sz="2000" dirty="0">
                <a:solidFill>
                  <a:schemeClr val="bg1"/>
                </a:solidFill>
                <a:latin typeface="Calibri" panose="020F0502020204030204" pitchFamily="34" charset="0"/>
                <a:cs typeface="Calibri" panose="020F0502020204030204" pitchFamily="34" charset="0"/>
              </a:rPr>
              <a:t>y’</a:t>
            </a:r>
            <a:r>
              <a:rPr lang="zh-CN" altLang="en-US" sz="2000" dirty="0">
                <a:solidFill>
                  <a:schemeClr val="bg1"/>
                </a:solidFill>
                <a:latin typeface="Calibri" panose="020F0502020204030204" pitchFamily="34" charset="0"/>
                <a:cs typeface="Calibri" panose="020F0502020204030204" pitchFamily="34" charset="0"/>
              </a:rPr>
              <a:t>s spend with Supplier</a:t>
            </a:r>
          </a:p>
        </p:txBody>
      </p:sp>
      <p:sp>
        <p:nvSpPr>
          <p:cNvPr id="22" name="矩形 21"/>
          <p:cNvSpPr>
            <a:spLocks noChangeArrowheads="1"/>
          </p:cNvSpPr>
          <p:nvPr/>
        </p:nvSpPr>
        <p:spPr bwMode="auto">
          <a:xfrm>
            <a:off x="5238750" y="2687638"/>
            <a:ext cx="1711325" cy="70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2000" b="1" dirty="0">
                <a:solidFill>
                  <a:schemeClr val="bg1"/>
                </a:solidFill>
                <a:latin typeface="Calibri" panose="020F0502020204030204" pitchFamily="34" charset="0"/>
                <a:cs typeface="Calibri" panose="020F0502020204030204" pitchFamily="34" charset="0"/>
              </a:rPr>
              <a:t>Commercial Interest</a:t>
            </a:r>
          </a:p>
        </p:txBody>
      </p:sp>
      <p:sp>
        <p:nvSpPr>
          <p:cNvPr id="24" name="矩形 23"/>
          <p:cNvSpPr>
            <a:spLocks noChangeArrowheads="1"/>
          </p:cNvSpPr>
          <p:nvPr/>
        </p:nvSpPr>
        <p:spPr bwMode="auto">
          <a:xfrm>
            <a:off x="8248650" y="3597275"/>
            <a:ext cx="2247900" cy="1245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125000"/>
              </a:lnSpc>
            </a:pPr>
            <a:r>
              <a:rPr lang="zh-CN" altLang="en-US" sz="2000" dirty="0">
                <a:solidFill>
                  <a:schemeClr val="bg1"/>
                </a:solidFill>
                <a:latin typeface="Calibri" panose="020F0502020204030204" pitchFamily="34" charset="0"/>
                <a:cs typeface="Calibri" panose="020F0502020204030204" pitchFamily="34" charset="0"/>
              </a:rPr>
              <a:t>Substances used in the product and </a:t>
            </a:r>
            <a:r>
              <a:rPr lang="en-US" altLang="zh-CN" sz="2000" dirty="0">
                <a:solidFill>
                  <a:schemeClr val="bg1"/>
                </a:solidFill>
                <a:latin typeface="Calibri" panose="020F0502020204030204" pitchFamily="34" charset="0"/>
                <a:cs typeface="Calibri" panose="020F0502020204030204" pitchFamily="34" charset="0"/>
              </a:rPr>
              <a:t>service</a:t>
            </a:r>
            <a:r>
              <a:rPr lang="zh-CN" altLang="en-US" sz="2000" dirty="0">
                <a:solidFill>
                  <a:schemeClr val="bg1"/>
                </a:solidFill>
                <a:latin typeface="Calibri" panose="020F0502020204030204" pitchFamily="34" charset="0"/>
                <a:cs typeface="Calibri" panose="020F0502020204030204" pitchFamily="34" charset="0"/>
              </a:rPr>
              <a:t> process</a:t>
            </a:r>
          </a:p>
        </p:txBody>
      </p:sp>
      <p:sp>
        <p:nvSpPr>
          <p:cNvPr id="27" name="矩形 26"/>
          <p:cNvSpPr>
            <a:spLocks noChangeArrowheads="1"/>
          </p:cNvSpPr>
          <p:nvPr/>
        </p:nvSpPr>
        <p:spPr bwMode="auto">
          <a:xfrm>
            <a:off x="8516938" y="2687638"/>
            <a:ext cx="1711325" cy="70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sz="2000" b="1" dirty="0">
                <a:solidFill>
                  <a:schemeClr val="bg1"/>
                </a:solidFill>
              </a:rPr>
              <a:t> </a:t>
            </a:r>
            <a:r>
              <a:rPr lang="en-US" altLang="zh-CN" sz="2000" b="1" dirty="0">
                <a:solidFill>
                  <a:schemeClr val="bg1"/>
                </a:solidFill>
                <a:latin typeface="Calibri" panose="020F0502020204030204" pitchFamily="34" charset="0"/>
                <a:cs typeface="Calibri" panose="020F0502020204030204" pitchFamily="34" charset="0"/>
              </a:rPr>
              <a:t>Product &amp; Service</a:t>
            </a:r>
          </a:p>
        </p:txBody>
      </p:sp>
      <p:sp>
        <p:nvSpPr>
          <p:cNvPr id="42" name="等腰三角形 41"/>
          <p:cNvSpPr>
            <a:spLocks noChangeArrowheads="1"/>
          </p:cNvSpPr>
          <p:nvPr/>
        </p:nvSpPr>
        <p:spPr bwMode="auto">
          <a:xfrm>
            <a:off x="196850" y="360363"/>
            <a:ext cx="563563" cy="485775"/>
          </a:xfrm>
          <a:prstGeom prst="triangle">
            <a:avLst>
              <a:gd name="adj" fmla="val 50000"/>
            </a:avLst>
          </a:prstGeom>
          <a:solidFill>
            <a:srgbClr val="19751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5" name="等腰三角形 44"/>
          <p:cNvSpPr>
            <a:spLocks noChangeArrowheads="1"/>
          </p:cNvSpPr>
          <p:nvPr/>
        </p:nvSpPr>
        <p:spPr bwMode="auto">
          <a:xfrm>
            <a:off x="760413" y="696913"/>
            <a:ext cx="265112" cy="228600"/>
          </a:xfrm>
          <a:prstGeom prst="triangle">
            <a:avLst>
              <a:gd name="adj" fmla="val 50000"/>
            </a:avLst>
          </a:prstGeom>
          <a:solidFill>
            <a:srgbClr val="197519">
              <a:alpha val="89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6" name="等腰三角形 45"/>
          <p:cNvSpPr>
            <a:spLocks noChangeArrowheads="1"/>
          </p:cNvSpPr>
          <p:nvPr/>
        </p:nvSpPr>
        <p:spPr bwMode="auto">
          <a:xfrm flipH="1">
            <a:off x="630238" y="469900"/>
            <a:ext cx="85725" cy="74613"/>
          </a:xfrm>
          <a:prstGeom prst="triangle">
            <a:avLst>
              <a:gd name="adj" fmla="val 50000"/>
            </a:avLst>
          </a:prstGeom>
          <a:solidFill>
            <a:srgbClr val="197519">
              <a:alpha val="46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7" name="等腰三角形 46"/>
          <p:cNvSpPr>
            <a:spLocks noChangeArrowheads="1"/>
          </p:cNvSpPr>
          <p:nvPr/>
        </p:nvSpPr>
        <p:spPr bwMode="auto">
          <a:xfrm>
            <a:off x="833438" y="490538"/>
            <a:ext cx="177800" cy="152400"/>
          </a:xfrm>
          <a:prstGeom prst="triangle">
            <a:avLst>
              <a:gd name="adj" fmla="val 50000"/>
            </a:avLst>
          </a:prstGeom>
          <a:solidFill>
            <a:srgbClr val="197519">
              <a:alpha val="71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53" name="矩形 52"/>
          <p:cNvSpPr>
            <a:spLocks noChangeArrowheads="1"/>
          </p:cNvSpPr>
          <p:nvPr/>
        </p:nvSpPr>
        <p:spPr bwMode="auto">
          <a:xfrm>
            <a:off x="1192530" y="383540"/>
            <a:ext cx="9707880" cy="58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zh-CN" sz="3200" b="1" dirty="0">
                <a:solidFill>
                  <a:srgbClr val="197519"/>
                </a:solidFill>
                <a:latin typeface="Calibri" panose="020F0502020204030204" pitchFamily="34" charset="0"/>
                <a:cs typeface="Calibri" panose="020F0502020204030204" pitchFamily="34" charset="0"/>
              </a:rPr>
              <a:t>Selective Monitoring Criteria - Risk-Based Analysis</a:t>
            </a:r>
          </a:p>
        </p:txBody>
      </p:sp>
    </p:spTree>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COMMONDATA" val="eyJoZGlkIjoiOWI1MDM3ODcwY2M3MTFjZWRhYmZiNDBmNzgxZjhlODMifQ=="/>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diagram600_6*i*54"/>
  <p:tag name="KSO_WM_TEMPLATE_CATEGORY" val="diagram"/>
  <p:tag name="KSO_WM_TEMPLATE_INDEX" val="600"/>
  <p:tag name="KSO_WM_UNIT_INDEX" val="54"/>
</p:tagLst>
</file>

<file path=ppt/tags/tag1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diagram600_6*i*67"/>
  <p:tag name="KSO_WM_TEMPLATE_CATEGORY" val="diagram"/>
  <p:tag name="KSO_WM_TEMPLATE_INDEX" val="600"/>
  <p:tag name="KSO_WM_UNIT_INDEX" val="67"/>
</p:tagLst>
</file>

<file path=ppt/tags/tag12.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22"/>
  <p:tag name="KSO_WM_UNIT_ID" val="261*m_i*1_22"/>
  <p:tag name="KSO_WM_UNIT_CLEAR" val="1"/>
  <p:tag name="KSO_WM_UNIT_LAYERLEVEL" val="1_1"/>
  <p:tag name="KSO_WM_BEAUTIFY_FLAG" val="#wm#"/>
  <p:tag name="KSO_WM_DIAGRAM_GROUP_CODE" val="m1-1"/>
  <p:tag name="KSO_WM_TAG_VERSION" val="1.0"/>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13.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h_a"/>
  <p:tag name="KSO_WM_UNIT_INDEX" val="1_6_1"/>
  <p:tag name="KSO_WM_UNIT_ID" val="261*m_h_a*1_6_1"/>
  <p:tag name="KSO_WM_UNIT_CLEAR" val="1"/>
  <p:tag name="KSO_WM_UNIT_LAYERLEVEL" val="1_1_1"/>
  <p:tag name="KSO_WM_UNIT_VALUE" val="12"/>
  <p:tag name="KSO_WM_UNIT_HIGHLIGHT" val="0"/>
  <p:tag name="KSO_WM_UNIT_COMPATIBLE" val="0"/>
  <p:tag name="KSO_WM_BEAUTIFY_FLAG" val="#wm#"/>
  <p:tag name="KSO_WM_DIAGRAM_GROUP_CODE" val="m1-1"/>
  <p:tag name="KSO_WM_TAG_VERSION" val="1.0"/>
  <p:tag name="KSO_WM_UNIT_PRESET_TEXT" val="Lorem"/>
  <p:tag name="KSO_WM_UNIT_FILL_FORE_SCHEMECOLOR_INDEX_1_BRIGHTNESS" val="0.6"/>
  <p:tag name="KSO_WM_UNIT_FILL_FORE_SCHEMECOLOR_INDEX_1" val="6"/>
  <p:tag name="KSO_WM_UNIT_FILL_FORE_SCHEMECOLOR_INDEX_1_POS" val="0"/>
  <p:tag name="KSO_WM_UNIT_FILL_FORE_SCHEMECOLOR_INDEX_1_TRANS" val="0"/>
  <p:tag name="KSO_WM_UNIT_FILL_FORE_SCHEMECOLOR_INDEX_2_BRIGHTNESS" val="0.8"/>
  <p:tag name="KSO_WM_UNIT_FILL_FORE_SCHEMECOLOR_INDEX_2" val="6"/>
  <p:tag name="KSO_WM_UNIT_FILL_FORE_SCHEMECOLOR_INDEX_2_POS" val="1"/>
  <p:tag name="KSO_WM_UNIT_FILL_FORE_SCHEMECOLOR_INDEX_2_TRANS" val="0"/>
  <p:tag name="KSO_WM_UNIT_FILL_GRADIENT_TYPE" val="0"/>
  <p:tag name="KSO_WM_UNIT_FILL_GRADIENT_ANGLE" val="0"/>
  <p:tag name="KSO_WM_UNIT_FILL_GRADIENT_DIRECTION" val="3"/>
  <p:tag name="KSO_WM_UNIT_FILL_TYPE" val="3"/>
  <p:tag name="KSO_WM_UNIT_USESOURCEFORMAT_APPLY" val="1"/>
</p:tagLst>
</file>

<file path=ppt/tags/tag14.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23"/>
  <p:tag name="KSO_WM_UNIT_ID" val="261*m_i*1_23"/>
  <p:tag name="KSO_WM_UNIT_CLEAR" val="1"/>
  <p:tag name="KSO_WM_UNIT_LAYERLEVEL" val="1_1"/>
  <p:tag name="KSO_WM_BEAUTIFY_FLAG" val="#wm#"/>
  <p:tag name="KSO_WM_DIAGRAM_GROUP_CODE" val="m1-1"/>
  <p:tag name="KSO_WM_TAG_VERSION" val="1.0"/>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15.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24"/>
  <p:tag name="KSO_WM_UNIT_ID" val="261*m_i*1_24"/>
  <p:tag name="KSO_WM_UNIT_CLEAR" val="1"/>
  <p:tag name="KSO_WM_UNIT_LAYERLEVEL" val="1_1"/>
  <p:tag name="KSO_WM_BEAUTIFY_FLAG" val="#wm#"/>
  <p:tag name="KSO_WM_DIAGRAM_GROUP_CODE" val="m1-1"/>
  <p:tag name="KSO_WM_TAG_VERSION" val="1.0"/>
  <p:tag name="KSO_WM_UNIT_USESOURCEFORMAT_APPLY" val="1"/>
</p:tagLst>
</file>

<file path=ppt/tags/tag16.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18"/>
  <p:tag name="KSO_WM_UNIT_ID" val="261*m_i*1_18"/>
  <p:tag name="KSO_WM_UNIT_CLEAR" val="1"/>
  <p:tag name="KSO_WM_UNIT_LAYERLEVEL" val="1_1"/>
  <p:tag name="KSO_WM_BEAUTIFY_FLAG" val="#wm#"/>
  <p:tag name="KSO_WM_DIAGRAM_GROUP_CODE" val="m1-1"/>
  <p:tag name="KSO_WM_TAG_VERSION" val="1.0"/>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17.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h_a"/>
  <p:tag name="KSO_WM_UNIT_INDEX" val="1_4_1"/>
  <p:tag name="KSO_WM_UNIT_ID" val="261*m_h_a*1_4_1"/>
  <p:tag name="KSO_WM_UNIT_CLEAR" val="1"/>
  <p:tag name="KSO_WM_UNIT_LAYERLEVEL" val="1_1_1"/>
  <p:tag name="KSO_WM_UNIT_VALUE" val="12"/>
  <p:tag name="KSO_WM_UNIT_HIGHLIGHT" val="0"/>
  <p:tag name="KSO_WM_UNIT_COMPATIBLE" val="0"/>
  <p:tag name="KSO_WM_BEAUTIFY_FLAG" val="#wm#"/>
  <p:tag name="KSO_WM_DIAGRAM_GROUP_CODE" val="m1-1"/>
  <p:tag name="KSO_WM_TAG_VERSION" val="1.0"/>
  <p:tag name="KSO_WM_UNIT_PRESET_TEXT" val="Lorem"/>
  <p:tag name="KSO_WM_UNIT_FILL_FORE_SCHEMECOLOR_INDEX_1_BRIGHTNESS" val="0.6"/>
  <p:tag name="KSO_WM_UNIT_FILL_FORE_SCHEMECOLOR_INDEX_1" val="6"/>
  <p:tag name="KSO_WM_UNIT_FILL_FORE_SCHEMECOLOR_INDEX_1_POS" val="0"/>
  <p:tag name="KSO_WM_UNIT_FILL_FORE_SCHEMECOLOR_INDEX_1_TRANS" val="0"/>
  <p:tag name="KSO_WM_UNIT_FILL_FORE_SCHEMECOLOR_INDEX_2_BRIGHTNESS" val="0.8"/>
  <p:tag name="KSO_WM_UNIT_FILL_FORE_SCHEMECOLOR_INDEX_2" val="6"/>
  <p:tag name="KSO_WM_UNIT_FILL_FORE_SCHEMECOLOR_INDEX_2_POS" val="1"/>
  <p:tag name="KSO_WM_UNIT_FILL_FORE_SCHEMECOLOR_INDEX_2_TRANS" val="0"/>
  <p:tag name="KSO_WM_UNIT_FILL_GRADIENT_TYPE" val="0"/>
  <p:tag name="KSO_WM_UNIT_FILL_GRADIENT_ANGLE" val="0"/>
  <p:tag name="KSO_WM_UNIT_FILL_GRADIENT_DIRECTION" val="3"/>
  <p:tag name="KSO_WM_UNIT_FILL_TYPE" val="3"/>
  <p:tag name="KSO_WM_UNIT_USESOURCEFORMAT_APPLY" val="1"/>
</p:tagLst>
</file>

<file path=ppt/tags/tag18.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19"/>
  <p:tag name="KSO_WM_UNIT_ID" val="261*m_i*1_19"/>
  <p:tag name="KSO_WM_UNIT_CLEAR" val="1"/>
  <p:tag name="KSO_WM_UNIT_LAYERLEVEL" val="1_1"/>
  <p:tag name="KSO_WM_BEAUTIFY_FLAG" val="#wm#"/>
  <p:tag name="KSO_WM_DIAGRAM_GROUP_CODE" val="m1-1"/>
  <p:tag name="KSO_WM_TAG_VERSION" val="1.0"/>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19.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20"/>
  <p:tag name="KSO_WM_UNIT_ID" val="261*m_i*1_20"/>
  <p:tag name="KSO_WM_UNIT_CLEAR" val="1"/>
  <p:tag name="KSO_WM_UNIT_LAYERLEVEL" val="1_1"/>
  <p:tag name="KSO_WM_BEAUTIFY_FLAG" val="#wm#"/>
  <p:tag name="KSO_WM_DIAGRAM_GROUP_CODE" val="m1-1"/>
  <p:tag name="KSO_WM_TAG_VERSION" val="1.0"/>
  <p:tag name="KSO_WM_UNIT_USESOURCEFORMAT_APPLY"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14"/>
  <p:tag name="KSO_WM_UNIT_ID" val="261*m_i*1_14"/>
  <p:tag name="KSO_WM_UNIT_CLEAR" val="1"/>
  <p:tag name="KSO_WM_UNIT_LAYERLEVEL" val="1_1"/>
  <p:tag name="KSO_WM_BEAUTIFY_FLAG" val="#wm#"/>
  <p:tag name="KSO_WM_DIAGRAM_GROUP_CODE" val="m1-1"/>
  <p:tag name="KSO_WM_TAG_VERSION" val="1.0"/>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21.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h_a"/>
  <p:tag name="KSO_WM_UNIT_INDEX" val="1_2_1"/>
  <p:tag name="KSO_WM_UNIT_ID" val="261*m_h_a*1_2_1"/>
  <p:tag name="KSO_WM_UNIT_CLEAR" val="1"/>
  <p:tag name="KSO_WM_UNIT_LAYERLEVEL" val="1_1_1"/>
  <p:tag name="KSO_WM_UNIT_VALUE" val="12"/>
  <p:tag name="KSO_WM_UNIT_HIGHLIGHT" val="0"/>
  <p:tag name="KSO_WM_UNIT_COMPATIBLE" val="0"/>
  <p:tag name="KSO_WM_BEAUTIFY_FLAG" val="#wm#"/>
  <p:tag name="KSO_WM_DIAGRAM_GROUP_CODE" val="m1-1"/>
  <p:tag name="KSO_WM_TAG_VERSION" val="1.0"/>
  <p:tag name="KSO_WM_UNIT_PRESET_TEXT" val="Lorem"/>
  <p:tag name="KSO_WM_UNIT_FILL_FORE_SCHEMECOLOR_INDEX_1_BRIGHTNESS" val="0.6"/>
  <p:tag name="KSO_WM_UNIT_FILL_FORE_SCHEMECOLOR_INDEX_1" val="6"/>
  <p:tag name="KSO_WM_UNIT_FILL_FORE_SCHEMECOLOR_INDEX_1_POS" val="0"/>
  <p:tag name="KSO_WM_UNIT_FILL_FORE_SCHEMECOLOR_INDEX_1_TRANS" val="0"/>
  <p:tag name="KSO_WM_UNIT_FILL_FORE_SCHEMECOLOR_INDEX_2_BRIGHTNESS" val="0.8"/>
  <p:tag name="KSO_WM_UNIT_FILL_FORE_SCHEMECOLOR_INDEX_2" val="6"/>
  <p:tag name="KSO_WM_UNIT_FILL_FORE_SCHEMECOLOR_INDEX_2_POS" val="1"/>
  <p:tag name="KSO_WM_UNIT_FILL_FORE_SCHEMECOLOR_INDEX_2_TRANS" val="0"/>
  <p:tag name="KSO_WM_UNIT_FILL_GRADIENT_TYPE" val="0"/>
  <p:tag name="KSO_WM_UNIT_FILL_GRADIENT_ANGLE" val="0"/>
  <p:tag name="KSO_WM_UNIT_FILL_GRADIENT_DIRECTION" val="3"/>
  <p:tag name="KSO_WM_UNIT_FILL_TYPE" val="3"/>
  <p:tag name="KSO_WM_UNIT_USESOURCEFORMAT_APPLY" val="1"/>
</p:tagLst>
</file>

<file path=ppt/tags/tag22.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15"/>
  <p:tag name="KSO_WM_UNIT_ID" val="261*m_i*1_15"/>
  <p:tag name="KSO_WM_UNIT_CLEAR" val="1"/>
  <p:tag name="KSO_WM_UNIT_LAYERLEVEL" val="1_1"/>
  <p:tag name="KSO_WM_BEAUTIFY_FLAG" val="#wm#"/>
  <p:tag name="KSO_WM_DIAGRAM_GROUP_CODE" val="m1-1"/>
  <p:tag name="KSO_WM_TAG_VERSION" val="1.0"/>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23.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16"/>
  <p:tag name="KSO_WM_UNIT_ID" val="261*m_i*1_16"/>
  <p:tag name="KSO_WM_UNIT_CLEAR" val="1"/>
  <p:tag name="KSO_WM_UNIT_LAYERLEVEL" val="1_1"/>
  <p:tag name="KSO_WM_BEAUTIFY_FLAG" val="#wm#"/>
  <p:tag name="KSO_WM_DIAGRAM_GROUP_CODE" val="m1-1"/>
  <p:tag name="KSO_WM_TAG_VERSION" val="1.0"/>
  <p:tag name="KSO_WM_UNIT_USESOURCEFORMAT_APPLY" val="1"/>
</p:tagLst>
</file>

<file path=ppt/tags/tag24.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10"/>
  <p:tag name="KSO_WM_UNIT_ID" val="261*m_i*1_10"/>
  <p:tag name="KSO_WM_UNIT_CLEAR" val="1"/>
  <p:tag name="KSO_WM_UNIT_LAYERLEVEL" val="1_1"/>
  <p:tag name="KSO_WM_BEAUTIFY_FLAG" val="#wm#"/>
  <p:tag name="KSO_WM_DIAGRAM_GROUP_CODE" val="m1-1"/>
  <p:tag name="KSO_WM_TAG_VERSION" val="1.0"/>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25.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h_a"/>
  <p:tag name="KSO_WM_UNIT_INDEX" val="1_5_1"/>
  <p:tag name="KSO_WM_UNIT_ID" val="261*m_h_a*1_5_1"/>
  <p:tag name="KSO_WM_UNIT_CLEAR" val="1"/>
  <p:tag name="KSO_WM_UNIT_LAYERLEVEL" val="1_1_1"/>
  <p:tag name="KSO_WM_UNIT_VALUE" val="10"/>
  <p:tag name="KSO_WM_UNIT_HIGHLIGHT" val="0"/>
  <p:tag name="KSO_WM_UNIT_COMPATIBLE" val="0"/>
  <p:tag name="KSO_WM_BEAUTIFY_FLAG" val="#wm#"/>
  <p:tag name="KSO_WM_DIAGRAM_GROUP_CODE" val="m1-1"/>
  <p:tag name="KSO_WM_TAG_VERSION" val="1.0"/>
  <p:tag name="KSO_WM_UNIT_PRESET_TEXT" val="Lorem"/>
  <p:tag name="KSO_WM_UNIT_FILL_FORE_SCHEMECOLOR_INDEX_1_BRIGHTNESS" val="0.6"/>
  <p:tag name="KSO_WM_UNIT_FILL_FORE_SCHEMECOLOR_INDEX_1" val="5"/>
  <p:tag name="KSO_WM_UNIT_FILL_FORE_SCHEMECOLOR_INDEX_1_POS" val="0"/>
  <p:tag name="KSO_WM_UNIT_FILL_FORE_SCHEMECOLOR_INDEX_1_TRANS" val="0"/>
  <p:tag name="KSO_WM_UNIT_FILL_FORE_SCHEMECOLOR_INDEX_2_BRIGHTNESS" val="0.8"/>
  <p:tag name="KSO_WM_UNIT_FILL_FORE_SCHEMECOLOR_INDEX_2" val="5"/>
  <p:tag name="KSO_WM_UNIT_FILL_FORE_SCHEMECOLOR_INDEX_2_POS" val="1"/>
  <p:tag name="KSO_WM_UNIT_FILL_FORE_SCHEMECOLOR_INDEX_2_TRANS" val="0"/>
  <p:tag name="KSO_WM_UNIT_FILL_GRADIENT_TYPE" val="0"/>
  <p:tag name="KSO_WM_UNIT_FILL_GRADIENT_ANGLE" val="0"/>
  <p:tag name="KSO_WM_UNIT_FILL_GRADIENT_DIRECTION" val="3"/>
  <p:tag name="KSO_WM_UNIT_FILL_TYPE" val="3"/>
  <p:tag name="KSO_WM_UNIT_USESOURCEFORMAT_APPLY" val="1"/>
</p:tagLst>
</file>

<file path=ppt/tags/tag26.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11"/>
  <p:tag name="KSO_WM_UNIT_ID" val="261*m_i*1_11"/>
  <p:tag name="KSO_WM_UNIT_CLEAR" val="1"/>
  <p:tag name="KSO_WM_UNIT_LAYERLEVEL" val="1_1"/>
  <p:tag name="KSO_WM_BEAUTIFY_FLAG" val="#wm#"/>
  <p:tag name="KSO_WM_DIAGRAM_GROUP_CODE" val="m1-1"/>
  <p:tag name="KSO_WM_TAG_VERSION" val="1.0"/>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27.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12"/>
  <p:tag name="KSO_WM_UNIT_ID" val="261*m_i*1_12"/>
  <p:tag name="KSO_WM_UNIT_CLEAR" val="1"/>
  <p:tag name="KSO_WM_UNIT_LAYERLEVEL" val="1_1"/>
  <p:tag name="KSO_WM_BEAUTIFY_FLAG" val="#wm#"/>
  <p:tag name="KSO_WM_DIAGRAM_GROUP_CODE" val="m1-1"/>
  <p:tag name="KSO_WM_TAG_VERSION" val="1.0"/>
  <p:tag name="KSO_WM_UNIT_USESOURCEFORMAT_APPLY" val="1"/>
</p:tagLst>
</file>

<file path=ppt/tags/tag28.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6"/>
  <p:tag name="KSO_WM_UNIT_ID" val="261*m_i*1_6"/>
  <p:tag name="KSO_WM_UNIT_CLEAR" val="1"/>
  <p:tag name="KSO_WM_UNIT_LAYERLEVEL" val="1_1"/>
  <p:tag name="KSO_WM_BEAUTIFY_FLAG" val="#wm#"/>
  <p:tag name="KSO_WM_DIAGRAM_GROUP_CODE" val="m1-1"/>
  <p:tag name="KSO_WM_TAG_VERSION" val="1.0"/>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29.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h_a"/>
  <p:tag name="KSO_WM_UNIT_INDEX" val="1_3_1"/>
  <p:tag name="KSO_WM_UNIT_ID" val="261*m_h_a*1_3_1"/>
  <p:tag name="KSO_WM_UNIT_CLEAR" val="1"/>
  <p:tag name="KSO_WM_UNIT_LAYERLEVEL" val="1_1_1"/>
  <p:tag name="KSO_WM_UNIT_VALUE" val="10"/>
  <p:tag name="KSO_WM_UNIT_HIGHLIGHT" val="0"/>
  <p:tag name="KSO_WM_UNIT_COMPATIBLE" val="0"/>
  <p:tag name="KSO_WM_BEAUTIFY_FLAG" val="#wm#"/>
  <p:tag name="KSO_WM_DIAGRAM_GROUP_CODE" val="m1-1"/>
  <p:tag name="KSO_WM_TAG_VERSION" val="1.0"/>
  <p:tag name="KSO_WM_UNIT_PRESET_TEXT" val="Lorem"/>
  <p:tag name="KSO_WM_UNIT_FILL_FORE_SCHEMECOLOR_INDEX_1_BRIGHTNESS" val="0.6"/>
  <p:tag name="KSO_WM_UNIT_FILL_FORE_SCHEMECOLOR_INDEX_1" val="5"/>
  <p:tag name="KSO_WM_UNIT_FILL_FORE_SCHEMECOLOR_INDEX_1_POS" val="0"/>
  <p:tag name="KSO_WM_UNIT_FILL_FORE_SCHEMECOLOR_INDEX_1_TRANS" val="0"/>
  <p:tag name="KSO_WM_UNIT_FILL_FORE_SCHEMECOLOR_INDEX_2_BRIGHTNESS" val="0.8"/>
  <p:tag name="KSO_WM_UNIT_FILL_FORE_SCHEMECOLOR_INDEX_2" val="5"/>
  <p:tag name="KSO_WM_UNIT_FILL_FORE_SCHEMECOLOR_INDEX_2_POS" val="1"/>
  <p:tag name="KSO_WM_UNIT_FILL_FORE_SCHEMECOLOR_INDEX_2_TRANS" val="0"/>
  <p:tag name="KSO_WM_UNIT_FILL_GRADIENT_TYPE" val="0"/>
  <p:tag name="KSO_WM_UNIT_FILL_GRADIENT_ANGLE" val="0"/>
  <p:tag name="KSO_WM_UNIT_FILL_GRADIENT_DIRECTION" val="3"/>
  <p:tag name="KSO_WM_UNIT_FILL_TYPE" val="3"/>
  <p:tag name="KSO_WM_UNIT_USESOURCEFORMAT_APPLY" val="1"/>
</p:tagLst>
</file>

<file path=ppt/tags/tag3.xml><?xml version="1.0" encoding="utf-8"?>
<p:tagLst xmlns:a="http://schemas.openxmlformats.org/drawingml/2006/main" xmlns:r="http://schemas.openxmlformats.org/officeDocument/2006/relationships" xmlns:p="http://schemas.openxmlformats.org/presentationml/2006/main">
  <p:tag name="KSO_WM_SLIDE_ITEM_CNT" val="6"/>
</p:tagLst>
</file>

<file path=ppt/tags/tag30.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7"/>
  <p:tag name="KSO_WM_UNIT_ID" val="261*m_i*1_7"/>
  <p:tag name="KSO_WM_UNIT_CLEAR" val="1"/>
  <p:tag name="KSO_WM_UNIT_LAYERLEVEL" val="1_1"/>
  <p:tag name="KSO_WM_BEAUTIFY_FLAG" val="#wm#"/>
  <p:tag name="KSO_WM_DIAGRAM_GROUP_CODE" val="m1-1"/>
  <p:tag name="KSO_WM_TAG_VERSION" val="1.0"/>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31.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8"/>
  <p:tag name="KSO_WM_UNIT_ID" val="261*m_i*1_8"/>
  <p:tag name="KSO_WM_UNIT_CLEAR" val="1"/>
  <p:tag name="KSO_WM_UNIT_LAYERLEVEL" val="1_1"/>
  <p:tag name="KSO_WM_BEAUTIFY_FLAG" val="#wm#"/>
  <p:tag name="KSO_WM_DIAGRAM_GROUP_CODE" val="m1-1"/>
  <p:tag name="KSO_WM_TAG_VERSION" val="1.0"/>
  <p:tag name="KSO_WM_UNIT_USESOURCEFORMAT_APPLY" val="1"/>
</p:tagLst>
</file>

<file path=ppt/tags/tag32.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2"/>
  <p:tag name="KSO_WM_UNIT_ID" val="261*m_i*1_2"/>
  <p:tag name="KSO_WM_UNIT_CLEAR" val="1"/>
  <p:tag name="KSO_WM_UNIT_LAYERLEVEL" val="1_1"/>
  <p:tag name="KSO_WM_BEAUTIFY_FLAG" val="#wm#"/>
  <p:tag name="KSO_WM_DIAGRAM_GROUP_CODE" val="m1-1"/>
  <p:tag name="KSO_WM_TAG_VERSION" val="1.0"/>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33.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h_a"/>
  <p:tag name="KSO_WM_UNIT_INDEX" val="1_1_1"/>
  <p:tag name="KSO_WM_UNIT_ID" val="261*m_h_a*1_1_1"/>
  <p:tag name="KSO_WM_UNIT_CLEAR" val="1"/>
  <p:tag name="KSO_WM_UNIT_LAYERLEVEL" val="1_1_1"/>
  <p:tag name="KSO_WM_UNIT_VALUE" val="10"/>
  <p:tag name="KSO_WM_UNIT_HIGHLIGHT" val="0"/>
  <p:tag name="KSO_WM_UNIT_COMPATIBLE" val="0"/>
  <p:tag name="KSO_WM_BEAUTIFY_FLAG" val="#wm#"/>
  <p:tag name="KSO_WM_DIAGRAM_GROUP_CODE" val="m1-1"/>
  <p:tag name="KSO_WM_TAG_VERSION" val="1.0"/>
  <p:tag name="KSO_WM_UNIT_PRESET_TEXT" val="Lorem"/>
  <p:tag name="KSO_WM_UNIT_FILL_FORE_SCHEMECOLOR_INDEX_1_BRIGHTNESS" val="0.6"/>
  <p:tag name="KSO_WM_UNIT_FILL_FORE_SCHEMECOLOR_INDEX_1" val="5"/>
  <p:tag name="KSO_WM_UNIT_FILL_FORE_SCHEMECOLOR_INDEX_1_POS" val="0"/>
  <p:tag name="KSO_WM_UNIT_FILL_FORE_SCHEMECOLOR_INDEX_1_TRANS" val="0"/>
  <p:tag name="KSO_WM_UNIT_FILL_FORE_SCHEMECOLOR_INDEX_2_BRIGHTNESS" val="0.8"/>
  <p:tag name="KSO_WM_UNIT_FILL_FORE_SCHEMECOLOR_INDEX_2" val="5"/>
  <p:tag name="KSO_WM_UNIT_FILL_FORE_SCHEMECOLOR_INDEX_2_POS" val="1"/>
  <p:tag name="KSO_WM_UNIT_FILL_FORE_SCHEMECOLOR_INDEX_2_TRANS" val="0"/>
  <p:tag name="KSO_WM_UNIT_FILL_GRADIENT_TYPE" val="0"/>
  <p:tag name="KSO_WM_UNIT_FILL_GRADIENT_ANGLE" val="0"/>
  <p:tag name="KSO_WM_UNIT_FILL_GRADIENT_DIRECTION" val="3"/>
  <p:tag name="KSO_WM_UNIT_FILL_TYPE" val="3"/>
  <p:tag name="KSO_WM_UNIT_USESOURCEFORMAT_APPLY" val="1"/>
</p:tagLst>
</file>

<file path=ppt/tags/tag34.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3"/>
  <p:tag name="KSO_WM_UNIT_ID" val="261*m_i*1_3"/>
  <p:tag name="KSO_WM_UNIT_CLEAR" val="1"/>
  <p:tag name="KSO_WM_UNIT_LAYERLEVEL" val="1_1"/>
  <p:tag name="KSO_WM_BEAUTIFY_FLAG" val="#wm#"/>
  <p:tag name="KSO_WM_DIAGRAM_GROUP_CODE" val="m1-1"/>
  <p:tag name="KSO_WM_TAG_VERSION" val="1.0"/>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 name="KSO_WM_UNIT_USESOURCEFORMAT_APPLY" val="1"/>
</p:tagLst>
</file>

<file path=ppt/tags/tag35.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4"/>
  <p:tag name="KSO_WM_UNIT_ID" val="261*m_i*1_4"/>
  <p:tag name="KSO_WM_UNIT_CLEAR" val="1"/>
  <p:tag name="KSO_WM_UNIT_LAYERLEVEL" val="1_1"/>
  <p:tag name="KSO_WM_BEAUTIFY_FLAG" val="#wm#"/>
  <p:tag name="KSO_WM_DIAGRAM_GROUP_CODE" val="m1-1"/>
  <p:tag name="KSO_WM_TAG_VERSION" val="1.0"/>
  <p:tag name="KSO_WM_UNIT_USESOURCEFORMAT_APPLY" val="1"/>
</p:tagLst>
</file>

<file path=ppt/tags/tag36.xml><?xml version="1.0" encoding="utf-8"?>
<p:tagLst xmlns:a="http://schemas.openxmlformats.org/drawingml/2006/main" xmlns:r="http://schemas.openxmlformats.org/officeDocument/2006/relationships" xmlns:p="http://schemas.openxmlformats.org/presentationml/2006/main">
  <p:tag name="KSO_WM_SLIDE_ITEM_CNT" val="6"/>
</p:tagLst>
</file>

<file path=ppt/tags/tag37.xml><?xml version="1.0" encoding="utf-8"?>
<p:tagLst xmlns:a="http://schemas.openxmlformats.org/drawingml/2006/main" xmlns:r="http://schemas.openxmlformats.org/officeDocument/2006/relationships" xmlns:p="http://schemas.openxmlformats.org/presentationml/2006/main">
  <p:tag name="KSO_WM_SLIDE_ITEM_CNT" val="6"/>
</p:tagLst>
</file>

<file path=ppt/tags/tag38.xml><?xml version="1.0" encoding="utf-8"?>
<p:tagLst xmlns:a="http://schemas.openxmlformats.org/drawingml/2006/main" xmlns:r="http://schemas.openxmlformats.org/officeDocument/2006/relationships" xmlns:p="http://schemas.openxmlformats.org/presentationml/2006/main">
  <p:tag name="KSO_WM_UNIT_TABLE_BEAUTIFY" val="smartTable{a7c8923f-a078-453b-93e7-3e08896fd0f7}"/>
</p:tagLst>
</file>

<file path=ppt/tags/tag4.xml><?xml version="1.0" encoding="utf-8"?>
<p:tagLst xmlns:a="http://schemas.openxmlformats.org/drawingml/2006/main" xmlns:r="http://schemas.openxmlformats.org/officeDocument/2006/relationships" xmlns:p="http://schemas.openxmlformats.org/presentationml/2006/main">
  <p:tag name="KSO_WM_SLIDE_ITEM_CNT" val="6"/>
</p:tagLst>
</file>

<file path=ppt/tags/tag5.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600"/>
  <p:tag name="KSO_WM_UNIT_TYPE" val="m_i"/>
  <p:tag name="KSO_WM_UNIT_INDEX" val="1_13"/>
  <p:tag name="KSO_WM_UNIT_ID" val="261*m_i*1_13"/>
  <p:tag name="KSO_WM_UNIT_CLEAR" val="1"/>
  <p:tag name="KSO_WM_UNIT_LAYERLEVEL" val="1_1"/>
  <p:tag name="KSO_WM_BEAUTIFY_FLAG" val="#wm#"/>
  <p:tag name="KSO_WM_DIAGRAM_GROUP_CODE" val="m1-1"/>
  <p:tag name="KSO_WM_TAG_VERSION" val="1.0"/>
  <p:tag name="KSO_WM_UNIT_USESOURCEFORMAT_APPLY" val="1"/>
</p:tagLst>
</file>

<file path=ppt/tags/tag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diagram600_6*i*2"/>
  <p:tag name="KSO_WM_TEMPLATE_CATEGORY" val="diagram"/>
  <p:tag name="KSO_WM_TEMPLATE_INDEX" val="600"/>
  <p:tag name="KSO_WM_UNIT_INDEX" val="2"/>
</p:tagLst>
</file>

<file path=ppt/tags/tag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diagram600_6*i*15"/>
  <p:tag name="KSO_WM_TEMPLATE_CATEGORY" val="diagram"/>
  <p:tag name="KSO_WM_TEMPLATE_INDEX" val="600"/>
  <p:tag name="KSO_WM_UNIT_INDEX" val="15"/>
</p:tagLst>
</file>

<file path=ppt/tags/tag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diagram600_6*i*28"/>
  <p:tag name="KSO_WM_TEMPLATE_CATEGORY" val="diagram"/>
  <p:tag name="KSO_WM_TEMPLATE_INDEX" val="600"/>
  <p:tag name="KSO_WM_UNIT_INDEX" val="28"/>
</p:tagLst>
</file>

<file path=ppt/tags/tag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diagram600_6*i*41"/>
  <p:tag name="KSO_WM_TEMPLATE_CATEGORY" val="diagram"/>
  <p:tag name="KSO_WM_TEMPLATE_INDEX" val="600"/>
  <p:tag name="KSO_WM_UNIT_INDEX" val="41"/>
</p:tagLst>
</file>

<file path=ppt/theme/theme1.xml><?xml version="1.0" encoding="utf-8"?>
<a:theme xmlns:a="http://schemas.openxmlformats.org/drawingml/2006/main" name="Office 主题">
  <a:themeElements>
    <a:clrScheme name="绿色">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自定义 2">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TotalTime>
  <Words>1285</Words>
  <Application>Microsoft Office PowerPoint</Application>
  <PresentationFormat>Widescreen</PresentationFormat>
  <Paragraphs>235</Paragraphs>
  <Slides>21</Slides>
  <Notes>1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8" baseType="lpstr">
      <vt:lpstr>Daimler CS</vt:lpstr>
      <vt:lpstr>微软雅黑</vt:lpstr>
      <vt:lpstr>Arial</vt:lpstr>
      <vt:lpstr>Calibri</vt:lpstr>
      <vt:lpstr>Wingdings</vt:lpstr>
      <vt:lpstr>Office 主题</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Xiao, Binqian (133)</dc:creator>
  <cp:lastModifiedBy>Cong Wang</cp:lastModifiedBy>
  <cp:revision>465</cp:revision>
  <dcterms:created xsi:type="dcterms:W3CDTF">2015-05-05T12:29:00Z</dcterms:created>
  <dcterms:modified xsi:type="dcterms:W3CDTF">2022-06-29T13:3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1830</vt:lpwstr>
  </property>
  <property fmtid="{D5CDD505-2E9C-101B-9397-08002B2CF9AE}" pid="3" name="ICV">
    <vt:lpwstr>4EAFA00425AF4740B9EF31B3481C358F</vt:lpwstr>
  </property>
  <property fmtid="{D5CDD505-2E9C-101B-9397-08002B2CF9AE}" pid="4" name="MSIP_Label_924dbb1d-991d-4bbd-aad5-33bac1d8ffaf_Enabled">
    <vt:lpwstr>true</vt:lpwstr>
  </property>
  <property fmtid="{D5CDD505-2E9C-101B-9397-08002B2CF9AE}" pid="5" name="MSIP_Label_924dbb1d-991d-4bbd-aad5-33bac1d8ffaf_SetDate">
    <vt:lpwstr>2022-06-29T09:22:15Z</vt:lpwstr>
  </property>
  <property fmtid="{D5CDD505-2E9C-101B-9397-08002B2CF9AE}" pid="6" name="MSIP_Label_924dbb1d-991d-4bbd-aad5-33bac1d8ffaf_Method">
    <vt:lpwstr>Standard</vt:lpwstr>
  </property>
  <property fmtid="{D5CDD505-2E9C-101B-9397-08002B2CF9AE}" pid="7" name="MSIP_Label_924dbb1d-991d-4bbd-aad5-33bac1d8ffaf_Name">
    <vt:lpwstr>924dbb1d-991d-4bbd-aad5-33bac1d8ffaf</vt:lpwstr>
  </property>
  <property fmtid="{D5CDD505-2E9C-101B-9397-08002B2CF9AE}" pid="8" name="MSIP_Label_924dbb1d-991d-4bbd-aad5-33bac1d8ffaf_SiteId">
    <vt:lpwstr>9652d7c2-1ccf-4940-8151-4a92bd474ed0</vt:lpwstr>
  </property>
  <property fmtid="{D5CDD505-2E9C-101B-9397-08002B2CF9AE}" pid="9" name="MSIP_Label_924dbb1d-991d-4bbd-aad5-33bac1d8ffaf_ActionId">
    <vt:lpwstr>08fa6a8b-87c3-445e-9b7e-2f9e1ead11ef</vt:lpwstr>
  </property>
  <property fmtid="{D5CDD505-2E9C-101B-9397-08002B2CF9AE}" pid="10" name="MSIP_Label_924dbb1d-991d-4bbd-aad5-33bac1d8ffaf_ContentBits">
    <vt:lpwstr>1</vt:lpwstr>
  </property>
</Properties>
</file>